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6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7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4"/>
    <p:sldMasterId id="2147483671" r:id="rId5"/>
    <p:sldMasterId id="2147483682" r:id="rId6"/>
    <p:sldMasterId id="2147483884" r:id="rId7"/>
    <p:sldMasterId id="2147483684" r:id="rId8"/>
    <p:sldMasterId id="2147483945" r:id="rId9"/>
    <p:sldMasterId id="2147483960" r:id="rId10"/>
    <p:sldMasterId id="2147483972" r:id="rId11"/>
  </p:sldMasterIdLst>
  <p:notesMasterIdLst>
    <p:notesMasterId r:id="rId28"/>
  </p:notesMasterIdLst>
  <p:sldIdLst>
    <p:sldId id="7748" r:id="rId12"/>
    <p:sldId id="258" r:id="rId13"/>
    <p:sldId id="2141411620" r:id="rId14"/>
    <p:sldId id="2141411612" r:id="rId15"/>
    <p:sldId id="1940" r:id="rId16"/>
    <p:sldId id="2141410848" r:id="rId17"/>
    <p:sldId id="1919" r:id="rId18"/>
    <p:sldId id="361" r:id="rId19"/>
    <p:sldId id="2141411631" r:id="rId20"/>
    <p:sldId id="346" r:id="rId21"/>
    <p:sldId id="2141411632" r:id="rId22"/>
    <p:sldId id="2141411633" r:id="rId23"/>
    <p:sldId id="2141411634" r:id="rId24"/>
    <p:sldId id="2141411635" r:id="rId25"/>
    <p:sldId id="2141411636" r:id="rId26"/>
    <p:sldId id="2141410845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168" userDrawn="1">
          <p15:clr>
            <a:srgbClr val="A4A3A4"/>
          </p15:clr>
        </p15:guide>
        <p15:guide id="2" pos="7512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951E"/>
    <a:srgbClr val="FCB21B"/>
    <a:srgbClr val="006372"/>
    <a:srgbClr val="6A64A9"/>
    <a:srgbClr val="E35720"/>
    <a:srgbClr val="FDCC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 varScale="1">
        <p:scale>
          <a:sx n="121" d="100"/>
          <a:sy n="121" d="100"/>
        </p:scale>
        <p:origin x="744" y="176"/>
      </p:cViewPr>
      <p:guideLst>
        <p:guide pos="168"/>
        <p:guide pos="7512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F8B745-9954-480D-9C70-E892EF68DFD3}" type="datetimeFigureOut">
              <a:rPr lang="en-US" smtClean="0"/>
              <a:t>7/6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30709B-D3F7-4DB3-AFC4-B547AD46A6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435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2C23DCC-F9B8-4F85-9CE8-2D51E19C6C8B}" type="datetime4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 July 2025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71AA26-52C0-48E5-AF9E-6206494C8AD5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20928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CF6947-ECCC-2375-B696-707F74AC95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76CC467-6F25-6596-CBC0-6FFAE9225B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295650" y="6577013"/>
            <a:ext cx="3613150" cy="2033587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FC43635-15D5-1E7C-4B08-092EC21102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34F866-3380-B5D6-A206-E7C7F53FA4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954E4-B819-934E-9D6C-AA5D1565BD59}" type="slidenum">
              <a: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297515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.xml"/><Relationship Id="rId4" Type="http://schemas.openxmlformats.org/officeDocument/2006/relationships/image" Target="../media/image41.emf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pn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4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2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1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1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31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4.sv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39.gi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5"/>
          <p:cNvSpPr>
            <a:spLocks noChangeArrowheads="1"/>
          </p:cNvSpPr>
          <p:nvPr userDrawn="1"/>
        </p:nvSpPr>
        <p:spPr bwMode="auto">
          <a:xfrm>
            <a:off x="0" y="-1"/>
            <a:ext cx="12192000" cy="23856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 sz="2400"/>
          </a:p>
        </p:txBody>
      </p:sp>
      <p:sp>
        <p:nvSpPr>
          <p:cNvPr id="374786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8367" y="3192000"/>
            <a:ext cx="7198784" cy="1248000"/>
          </a:xfrm>
        </p:spPr>
        <p:txBody>
          <a:bodyPr anchor="b"/>
          <a:lstStyle>
            <a:lvl1pPr>
              <a:lnSpc>
                <a:spcPts val="2800"/>
              </a:lnSpc>
              <a:defRPr sz="2533"/>
            </a:lvl1pPr>
          </a:lstStyle>
          <a:p>
            <a:pPr lvl="0"/>
            <a:r>
              <a:rPr lang="en-GB" altLang="en-US" noProof="0"/>
              <a:t>Click to add title</a:t>
            </a:r>
          </a:p>
        </p:txBody>
      </p:sp>
      <p:sp>
        <p:nvSpPr>
          <p:cNvPr id="374787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8367" y="4728000"/>
            <a:ext cx="7198784" cy="525203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marR="0" indent="0" algn="l" defTabSz="10762982" rtl="0" eaLnBrk="1" fontAlgn="base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 sz="1400"/>
            </a:lvl1pPr>
          </a:lstStyle>
          <a:p>
            <a:pPr marL="0" marR="0" lvl="0" indent="0" algn="l" defTabSz="10762982" rtl="0" eaLnBrk="1" fontAlgn="base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 altLang="en-US" noProof="0"/>
              <a:t>Click to add subtitle [optional]</a:t>
            </a:r>
          </a:p>
        </p:txBody>
      </p:sp>
      <p:sp>
        <p:nvSpPr>
          <p:cNvPr id="374788" name="Line 4"/>
          <p:cNvSpPr>
            <a:spLocks noChangeShapeType="1"/>
          </p:cNvSpPr>
          <p:nvPr/>
        </p:nvSpPr>
        <p:spPr bwMode="auto">
          <a:xfrm>
            <a:off x="478367" y="4584000"/>
            <a:ext cx="7198784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2400"/>
          </a:p>
        </p:txBody>
      </p:sp>
      <p:sp>
        <p:nvSpPr>
          <p:cNvPr id="374791" name="Line 7"/>
          <p:cNvSpPr>
            <a:spLocks noChangeShapeType="1"/>
          </p:cNvSpPr>
          <p:nvPr/>
        </p:nvSpPr>
        <p:spPr bwMode="auto">
          <a:xfrm>
            <a:off x="0" y="2386013"/>
            <a:ext cx="12192000" cy="0"/>
          </a:xfrm>
          <a:prstGeom prst="line">
            <a:avLst/>
          </a:prstGeom>
          <a:noFill/>
          <a:ln w="317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2400"/>
          </a:p>
        </p:txBody>
      </p:sp>
      <p:sp>
        <p:nvSpPr>
          <p:cNvPr id="374797" name="Text Box 13"/>
          <p:cNvSpPr txBox="1">
            <a:spLocks noChangeArrowheads="1"/>
          </p:cNvSpPr>
          <p:nvPr/>
        </p:nvSpPr>
        <p:spPr bwMode="auto">
          <a:xfrm>
            <a:off x="9027121" y="6415138"/>
            <a:ext cx="2216151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r">
              <a:lnSpc>
                <a:spcPct val="100000"/>
              </a:lnSpc>
              <a:spcBef>
                <a:spcPct val="50000"/>
              </a:spcBef>
            </a:pPr>
            <a:r>
              <a:rPr lang="en-GB" altLang="en-US" sz="600">
                <a:solidFill>
                  <a:schemeClr val="tx1"/>
                </a:solidFill>
              </a:rPr>
              <a:t>An agency of the European Union</a:t>
            </a:r>
          </a:p>
        </p:txBody>
      </p:sp>
      <p:sp>
        <p:nvSpPr>
          <p:cNvPr id="374800" name="Line 16"/>
          <p:cNvSpPr>
            <a:spLocks noChangeShapeType="1"/>
          </p:cNvSpPr>
          <p:nvPr/>
        </p:nvSpPr>
        <p:spPr bwMode="auto">
          <a:xfrm>
            <a:off x="0" y="6732589"/>
            <a:ext cx="12192000" cy="1587"/>
          </a:xfrm>
          <a:prstGeom prst="line">
            <a:avLst/>
          </a:prstGeom>
          <a:noFill/>
          <a:ln w="317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2400"/>
          </a:p>
        </p:txBody>
      </p:sp>
      <p:pic>
        <p:nvPicPr>
          <p:cNvPr id="13" name="Picture 15" descr="EU flag fpr PowerPoint presentations (RGB) (300 ppi)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9200" y="6230400"/>
            <a:ext cx="412032" cy="27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5"/>
          <p:cNvSpPr>
            <a:spLocks noChangeArrowheads="1"/>
          </p:cNvSpPr>
          <p:nvPr userDrawn="1"/>
        </p:nvSpPr>
        <p:spPr bwMode="auto">
          <a:xfrm>
            <a:off x="0" y="6734400"/>
            <a:ext cx="12192000" cy="1248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 sz="240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5349215"/>
            <a:ext cx="7198784" cy="288032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467"/>
            </a:lvl1pPr>
          </a:lstStyle>
          <a:p>
            <a:r>
              <a:rPr lang="en-GB" altLang="en-US" kern="0"/>
              <a:t>Event title [optional]</a:t>
            </a:r>
          </a:p>
        </p:txBody>
      </p:sp>
    </p:spTree>
    <p:extLst>
      <p:ext uri="{BB962C8B-B14F-4D97-AF65-F5344CB8AC3E}">
        <p14:creationId xmlns:p14="http://schemas.microsoft.com/office/powerpoint/2010/main" val="16344875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layout - E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5">
            <a:extLst>
              <a:ext uri="{FF2B5EF4-FFF2-40B4-BE49-F238E27FC236}">
                <a16:creationId xmlns:a16="http://schemas.microsoft.com/office/drawing/2014/main" id="{BEC3DCED-5FBC-4977-A919-3E8F3F3AF3C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1835"/>
            <a:ext cx="12192000" cy="144000"/>
          </a:xfrm>
          <a:prstGeom prst="rect">
            <a:avLst/>
          </a:prstGeom>
          <a:gradFill flip="none" rotWithShape="1">
            <a:gsLst>
              <a:gs pos="78000">
                <a:srgbClr val="AC145A"/>
              </a:gs>
              <a:gs pos="17000">
                <a:srgbClr val="003399">
                  <a:shade val="100000"/>
                  <a:satMod val="115000"/>
                </a:srgbClr>
              </a:gs>
            </a:gsLst>
            <a:lin ang="2700000" scaled="0"/>
            <a:tileRect/>
          </a:gradFill>
          <a:ln>
            <a:noFill/>
          </a:ln>
          <a:effectLst/>
        </p:spPr>
        <p:txBody>
          <a:bodyPr wrap="none" lIns="0" tIns="0" rIns="0" bIns="0" anchor="ctr"/>
          <a:lstStyle>
            <a:lvl1pPr algn="ctr">
              <a:lnSpc>
                <a:spcPct val="120000"/>
              </a:lnSpc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 algn="ctr">
              <a:lnSpc>
                <a:spcPct val="120000"/>
              </a:lnSpc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 algn="ctr">
              <a:lnSpc>
                <a:spcPct val="120000"/>
              </a:lnSpc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 algn="ctr">
              <a:lnSpc>
                <a:spcPct val="120000"/>
              </a:lnSpc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 algn="ctr">
              <a:lnSpc>
                <a:spcPct val="120000"/>
              </a:lnSpc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US" altLang="en-US" sz="2133">
              <a:solidFill>
                <a:schemeClr val="bg1"/>
              </a:solidFill>
            </a:endParaRPr>
          </a:p>
        </p:txBody>
      </p:sp>
      <p:sp>
        <p:nvSpPr>
          <p:cNvPr id="2" name="MSIPCMContentMarking" descr="{&quot;HashCode&quot;:-1620017495,&quot;Placement&quot;:&quot;Footer&quot;,&quot;Top&quot;:388.417633,&quot;Left&quot;:242.805511,&quot;SlideWidth&quot;:720,&quot;SlideHeight&quot;:405}">
            <a:extLst>
              <a:ext uri="{FF2B5EF4-FFF2-40B4-BE49-F238E27FC236}">
                <a16:creationId xmlns:a16="http://schemas.microsoft.com/office/drawing/2014/main" id="{B623B59F-D493-7949-6F60-E8023A4E57A2}"/>
              </a:ext>
            </a:extLst>
          </p:cNvPr>
          <p:cNvSpPr txBox="1"/>
          <p:nvPr userDrawn="1"/>
        </p:nvSpPr>
        <p:spPr>
          <a:xfrm>
            <a:off x="4111507" y="6655577"/>
            <a:ext cx="3968987" cy="28079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sz="933">
                <a:solidFill>
                  <a:srgbClr val="737373"/>
                </a:solidFill>
                <a:latin typeface="Verdana" panose="020B0604030504040204" pitchFamily="34" charset="0"/>
              </a:rPr>
              <a:t>Classified as confidential by the European Medicines Agency 
</a:t>
            </a:r>
            <a:endParaRPr lang="en-NL" sz="933">
              <a:solidFill>
                <a:srgbClr val="737373"/>
              </a:solidFill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906430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B53CD3-94C3-D09E-CE02-FF25724C2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EE30ED-98AF-14FA-5030-5C16DB3EB7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5BBFA2F-FD3A-A4C5-A58B-1CAB6FCF61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2" indent="0">
              <a:buNone/>
              <a:defRPr sz="1400"/>
            </a:lvl2pPr>
            <a:lvl3pPr marL="914363" indent="0">
              <a:buNone/>
              <a:defRPr sz="1200"/>
            </a:lvl3pPr>
            <a:lvl4pPr marL="1371545" indent="0">
              <a:buNone/>
              <a:defRPr sz="1000"/>
            </a:lvl4pPr>
            <a:lvl5pPr marL="1828727" indent="0">
              <a:buNone/>
              <a:defRPr sz="1000"/>
            </a:lvl5pPr>
            <a:lvl6pPr marL="2285909" indent="0">
              <a:buNone/>
              <a:defRPr sz="1000"/>
            </a:lvl6pPr>
            <a:lvl7pPr marL="2743090" indent="0">
              <a:buNone/>
              <a:defRPr sz="1000"/>
            </a:lvl7pPr>
            <a:lvl8pPr marL="3200272" indent="0">
              <a:buNone/>
              <a:defRPr sz="1000"/>
            </a:lvl8pPr>
            <a:lvl9pPr marL="365745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2FB4C-DF62-4350-5422-F2EFF04B3D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A13DF-0BBC-4BC4-8EDB-FA719E4792F1}" type="datetimeFigureOut">
              <a:rPr lang="en-GB" smtClean="0"/>
              <a:t>06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91D9F6-9237-3AFA-7BC7-C748446AC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E18083D-8D8B-520B-1849-A334516E15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80B44-6CF8-4348-AB41-2741AC8E9B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575583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39796-72F2-23A3-2A5F-4E21CEE4AF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EEF8D98-BC8E-3B5F-E4EF-095EF7FD1E1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2" indent="0">
              <a:buNone/>
              <a:defRPr sz="2800"/>
            </a:lvl2pPr>
            <a:lvl3pPr marL="914363" indent="0">
              <a:buNone/>
              <a:defRPr sz="2400"/>
            </a:lvl3pPr>
            <a:lvl4pPr marL="1371545" indent="0">
              <a:buNone/>
              <a:defRPr sz="2000"/>
            </a:lvl4pPr>
            <a:lvl5pPr marL="1828727" indent="0">
              <a:buNone/>
              <a:defRPr sz="2000"/>
            </a:lvl5pPr>
            <a:lvl6pPr marL="2285909" indent="0">
              <a:buNone/>
              <a:defRPr sz="2000"/>
            </a:lvl6pPr>
            <a:lvl7pPr marL="2743090" indent="0">
              <a:buNone/>
              <a:defRPr sz="2000"/>
            </a:lvl7pPr>
            <a:lvl8pPr marL="3200272" indent="0">
              <a:buNone/>
              <a:defRPr sz="2000"/>
            </a:lvl8pPr>
            <a:lvl9pPr marL="3657454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844EF1-3FF1-902C-1029-06A02EBF10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2" indent="0">
              <a:buNone/>
              <a:defRPr sz="1400"/>
            </a:lvl2pPr>
            <a:lvl3pPr marL="914363" indent="0">
              <a:buNone/>
              <a:defRPr sz="1200"/>
            </a:lvl3pPr>
            <a:lvl4pPr marL="1371545" indent="0">
              <a:buNone/>
              <a:defRPr sz="1000"/>
            </a:lvl4pPr>
            <a:lvl5pPr marL="1828727" indent="0">
              <a:buNone/>
              <a:defRPr sz="1000"/>
            </a:lvl5pPr>
            <a:lvl6pPr marL="2285909" indent="0">
              <a:buNone/>
              <a:defRPr sz="1000"/>
            </a:lvl6pPr>
            <a:lvl7pPr marL="2743090" indent="0">
              <a:buNone/>
              <a:defRPr sz="1000"/>
            </a:lvl7pPr>
            <a:lvl8pPr marL="3200272" indent="0">
              <a:buNone/>
              <a:defRPr sz="1000"/>
            </a:lvl8pPr>
            <a:lvl9pPr marL="365745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841CEA-8C51-8C9F-7143-F17BEBC658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A13DF-0BBC-4BC4-8EDB-FA719E4792F1}" type="datetimeFigureOut">
              <a:rPr lang="en-GB" smtClean="0"/>
              <a:t>06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2D46BE-473A-E87B-8536-CEC730FF8B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E10E49-22AB-482B-BA42-B348135E9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80B44-6CF8-4348-AB41-2741AC8E9B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86461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12FDBA-34E5-799A-B404-7DAC9EA6AE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FD20E6E-DB70-158A-07A3-046FBFFFED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04FA1A-8B25-3AF4-5FF8-1D87EEEB50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A13DF-0BBC-4BC4-8EDB-FA719E4792F1}" type="datetimeFigureOut">
              <a:rPr lang="en-GB" smtClean="0"/>
              <a:t>06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7BC2BE-76DD-015D-B596-0BEF2B43A6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7199AC-F7E0-F82D-65F1-E187AEF2EE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80B44-6CF8-4348-AB41-2741AC8E9B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482030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CFDCFA8-6724-A4EE-865C-38D89E3F80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4E6AD58-005B-6EF8-6F1A-A0637CD6B97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6CD40E-B3B8-5A7C-9393-215ABA30B7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A13DF-0BBC-4BC4-8EDB-FA719E4792F1}" type="datetimeFigureOut">
              <a:rPr lang="en-GB" smtClean="0"/>
              <a:t>06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0BE1D8-0F92-F7CE-D11D-470B4DA320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861C91-B982-7344-1E91-D2DDC4F1EE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80B44-6CF8-4348-AB41-2741AC8E9B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02426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0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75203"/>
            <a:ext cx="109728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4137667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5"/>
          <p:cNvSpPr>
            <a:spLocks noChangeArrowheads="1"/>
          </p:cNvSpPr>
          <p:nvPr userDrawn="1"/>
        </p:nvSpPr>
        <p:spPr bwMode="auto">
          <a:xfrm>
            <a:off x="0" y="301"/>
            <a:ext cx="12192000" cy="23856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 sz="2400"/>
          </a:p>
        </p:txBody>
      </p:sp>
      <p:sp>
        <p:nvSpPr>
          <p:cNvPr id="374788" name="Line 4"/>
          <p:cNvSpPr>
            <a:spLocks noChangeShapeType="1"/>
          </p:cNvSpPr>
          <p:nvPr/>
        </p:nvSpPr>
        <p:spPr bwMode="auto">
          <a:xfrm>
            <a:off x="478367" y="4584000"/>
            <a:ext cx="7198784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2400"/>
          </a:p>
        </p:txBody>
      </p:sp>
      <p:sp>
        <p:nvSpPr>
          <p:cNvPr id="374791" name="Line 7"/>
          <p:cNvSpPr>
            <a:spLocks noChangeShapeType="1"/>
          </p:cNvSpPr>
          <p:nvPr/>
        </p:nvSpPr>
        <p:spPr bwMode="auto">
          <a:xfrm>
            <a:off x="0" y="2386013"/>
            <a:ext cx="12192000" cy="0"/>
          </a:xfrm>
          <a:prstGeom prst="line">
            <a:avLst/>
          </a:prstGeom>
          <a:noFill/>
          <a:ln w="317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2400"/>
          </a:p>
        </p:txBody>
      </p:sp>
      <p:sp>
        <p:nvSpPr>
          <p:cNvPr id="374800" name="Line 16"/>
          <p:cNvSpPr>
            <a:spLocks noChangeShapeType="1"/>
          </p:cNvSpPr>
          <p:nvPr/>
        </p:nvSpPr>
        <p:spPr bwMode="auto">
          <a:xfrm>
            <a:off x="0" y="6732589"/>
            <a:ext cx="12192000" cy="1587"/>
          </a:xfrm>
          <a:prstGeom prst="line">
            <a:avLst/>
          </a:prstGeom>
          <a:noFill/>
          <a:ln w="317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2400"/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auto">
          <a:xfrm>
            <a:off x="0" y="6734400"/>
            <a:ext cx="12192000" cy="1248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 sz="240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5349215"/>
            <a:ext cx="7198784" cy="288032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467"/>
            </a:lvl1pPr>
          </a:lstStyle>
          <a:p>
            <a:r>
              <a:rPr lang="en-GB" altLang="en-US" kern="0"/>
              <a:t>Event title [optional]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12B63D-6FD9-AF46-870B-CAEC5D1AA08F}"/>
              </a:ext>
            </a:extLst>
          </p:cNvPr>
          <p:cNvSpPr txBox="1"/>
          <p:nvPr userDrawn="1"/>
        </p:nvSpPr>
        <p:spPr>
          <a:xfrm>
            <a:off x="3985102" y="722990"/>
            <a:ext cx="74630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5400" b="1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ordination</a:t>
            </a:r>
            <a:r>
              <a:rPr lang="en-NL" sz="5400">
                <a:solidFill>
                  <a:schemeClr val="bg1"/>
                </a:solidFill>
              </a:rPr>
              <a:t> </a:t>
            </a:r>
            <a:r>
              <a:rPr lang="en-NL" sz="5400" b="1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entre</a:t>
            </a:r>
          </a:p>
        </p:txBody>
      </p:sp>
      <p:sp>
        <p:nvSpPr>
          <p:cNvPr id="18" name="Rectangle 2">
            <a:extLst>
              <a:ext uri="{FF2B5EF4-FFF2-40B4-BE49-F238E27FC236}">
                <a16:creationId xmlns:a16="http://schemas.microsoft.com/office/drawing/2014/main" id="{D006F15E-B4FC-FD4F-B887-74CD437B10C1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8366" y="3429000"/>
            <a:ext cx="7198783" cy="936000"/>
          </a:xfrm>
        </p:spPr>
        <p:txBody>
          <a:bodyPr anchor="b"/>
          <a:lstStyle>
            <a:lvl1pPr>
              <a:lnSpc>
                <a:spcPts val="2100"/>
              </a:lnSpc>
              <a:defRPr sz="1900"/>
            </a:lvl1pPr>
          </a:lstStyle>
          <a:p>
            <a:pPr lvl="0"/>
            <a:r>
              <a:rPr lang="en-GB" altLang="en-US" noProof="0"/>
              <a:t>Click to add title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4B5EC38A-F54A-5D4F-ADE3-1F0ED7FA4100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8366" y="4816087"/>
            <a:ext cx="7198782" cy="39390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marR="0" indent="0" algn="l" defTabSz="8072438" rtl="0" eaLnBrk="1" fontAlgn="base" latinLnBrk="0" hangingPunct="1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 sz="1050"/>
            </a:lvl1pPr>
          </a:lstStyle>
          <a:p>
            <a:pPr marL="0" marR="0" lvl="0" indent="0" algn="l" defTabSz="8072438" rtl="0" eaLnBrk="1" fontAlgn="base" latinLnBrk="0" hangingPunct="1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 altLang="en-US" noProof="0"/>
              <a:t>Click to add autho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379F251-64C9-C844-B908-E77AF091FD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4726" y="464577"/>
            <a:ext cx="3136939" cy="1441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170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 b="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8368" y="2159001"/>
            <a:ext cx="5491200" cy="3959225"/>
          </a:xfrm>
        </p:spPr>
        <p:txBody>
          <a:bodyPr/>
          <a:lstStyle>
            <a:lvl1pPr marL="0" marR="0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marL="0" marR="0" lvl="0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/>
              <a:t>Click to edit Master text styles</a:t>
            </a:r>
          </a:p>
          <a:p>
            <a:pPr marL="0" marR="0" lvl="1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/>
              <a:t>Second level</a:t>
            </a:r>
          </a:p>
          <a:p>
            <a:pPr marL="0" marR="0" lvl="2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/>
              <a:t>Third level</a:t>
            </a:r>
          </a:p>
          <a:p>
            <a:pPr marL="0" marR="0" lvl="3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/>
              <a:t>Fourth level</a:t>
            </a:r>
          </a:p>
          <a:p>
            <a:pPr marL="0" marR="0" lvl="4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80DD308B-ED36-E64B-93F9-7E67E07879F0}" type="datetime4">
              <a:rPr lang="en-US" altLang="en-US" smtClean="0"/>
              <a:t>July 6, 2025</a:t>
            </a:fld>
            <a:endParaRPr lang="en-GB" alt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6216000" y="2159001"/>
            <a:ext cx="5491200" cy="3959225"/>
          </a:xfrm>
        </p:spPr>
        <p:txBody>
          <a:bodyPr/>
          <a:lstStyle>
            <a:lvl1pPr marL="0" marR="0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marL="0" marR="0" lvl="0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/>
              <a:t>Click to edit Master text styles</a:t>
            </a:r>
          </a:p>
          <a:p>
            <a:pPr marL="0" marR="0" lvl="1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/>
              <a:t>Second level</a:t>
            </a:r>
          </a:p>
          <a:p>
            <a:pPr marL="0" marR="0" lvl="2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/>
              <a:t>Third level</a:t>
            </a:r>
          </a:p>
          <a:p>
            <a:pPr marL="0" marR="0" lvl="3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/>
              <a:t>Fourth level</a:t>
            </a:r>
          </a:p>
          <a:p>
            <a:pPr marL="0" marR="0" lvl="4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/>
              <a:t>Fif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FF4CC3B-301A-3442-BA3E-4FC6EC4393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521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64294A7-4450-7B45-96E4-7C6E7FEA6AD3}" type="datetime4">
              <a:rPr lang="en-US" altLang="en-US" smtClean="0"/>
              <a:t>July 6, 2025</a:t>
            </a:fld>
            <a:endParaRPr lang="en-GB" altLang="en-US"/>
          </a:p>
        </p:txBody>
      </p:sp>
      <p:sp>
        <p:nvSpPr>
          <p:cNvPr id="6" name="Line 2"/>
          <p:cNvSpPr>
            <a:spLocks noChangeShapeType="1"/>
          </p:cNvSpPr>
          <p:nvPr userDrawn="1"/>
        </p:nvSpPr>
        <p:spPr bwMode="auto">
          <a:xfrm>
            <a:off x="478367" y="3778251"/>
            <a:ext cx="8160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240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2661380"/>
            <a:ext cx="8160000" cy="1007531"/>
          </a:xfrm>
        </p:spPr>
        <p:txBody>
          <a:bodyPr anchor="b" anchorCtr="0"/>
          <a:lstStyle>
            <a:lvl1pPr>
              <a:lnSpc>
                <a:spcPts val="3200"/>
              </a:lnSpc>
              <a:spcAft>
                <a:spcPts val="0"/>
              </a:spcAft>
              <a:defRPr sz="2800" b="0">
                <a:solidFill>
                  <a:srgbClr val="003399"/>
                </a:solidFill>
              </a:defRPr>
            </a:lvl1pPr>
          </a:lstStyle>
          <a:p>
            <a:pPr lvl="0"/>
            <a:r>
              <a:rPr lang="en-US"/>
              <a:t>Section titl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80484" y="3909054"/>
            <a:ext cx="8159749" cy="230336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Section subtitle or brief intro tex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0C733E6-8EF0-DA46-A45D-47180BF0F0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7817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FE915A8-3115-FB4D-AB00-D5972D6FD9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3AAC4C9B-5EDF-E04C-895F-E5EF455017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B47BF8-6ACE-D14D-B9E4-AE058DD2ED63}" type="datetime4">
              <a:rPr lang="en-US" altLang="en-US" smtClean="0"/>
              <a:t>July 6, 2025</a:t>
            </a:fld>
            <a:endParaRPr lang="en-GB" alt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7A67949F-326B-3D45-9AD6-F692D580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037825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rmal content_title_in_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9816" y="1021081"/>
            <a:ext cx="11232000" cy="39592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FE915A8-3115-FB4D-AB00-D5972D6FD9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3AAC4C9B-5EDF-E04C-895F-E5EF455017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B47BF8-6ACE-D14D-B9E4-AE058DD2ED63}" type="datetime4">
              <a:rPr lang="en-US" altLang="en-US" smtClean="0"/>
              <a:t>July 6, 2025</a:t>
            </a:fld>
            <a:endParaRPr lang="en-GB" alt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7A67949F-326B-3D45-9AD6-F692D580B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268" y="141861"/>
            <a:ext cx="11232000" cy="9509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0817888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u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8368" y="2159001"/>
            <a:ext cx="5491200" cy="395922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6652" y="2159001"/>
            <a:ext cx="5490633" cy="395922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558FA254-4C2D-BF42-90E9-EE5B4E8BE622}" type="datetime4">
              <a:rPr lang="en-US" altLang="en-US" smtClean="0"/>
              <a:t>July 6, 2025</a:t>
            </a:fld>
            <a:endParaRPr lang="en-GB" alt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5F9591E-A173-C449-8B9B-825F2FF8DA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8815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73B7B2BF-0B26-8043-B02B-C92CE7DA1758}" type="datetime4">
              <a:rPr lang="en-US" altLang="en-US" smtClean="0"/>
              <a:t>July 6, 2025</a:t>
            </a:fld>
            <a:endParaRPr lang="en-GB" alt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57570CA-035C-5E4D-A191-274C042411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7859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_in_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816" y="160337"/>
            <a:ext cx="11232000" cy="9509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73B7B2BF-0B26-8043-B02B-C92CE7DA1758}" type="datetime4">
              <a:rPr lang="en-US" altLang="en-US" smtClean="0"/>
              <a:t>July 6, 2025</a:t>
            </a:fld>
            <a:endParaRPr lang="en-GB" alt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57570CA-035C-5E4D-A191-274C042411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1978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672000"/>
            <a:ext cx="12192000" cy="60624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C7C25A-B884-5848-9386-2597D99ADC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6118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 b="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8368" y="2159001"/>
            <a:ext cx="5491200" cy="3959225"/>
          </a:xfrm>
        </p:spPr>
        <p:txBody>
          <a:bodyPr/>
          <a:lstStyle>
            <a:lvl1pPr marL="0" marR="0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marL="0" marR="0" lvl="0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Second level</a:t>
            </a:r>
          </a:p>
          <a:p>
            <a:pPr marL="0" marR="0" lvl="2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Third level</a:t>
            </a:r>
          </a:p>
          <a:p>
            <a:pPr marL="0" marR="0" lvl="3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Fourth level</a:t>
            </a:r>
          </a:p>
          <a:p>
            <a:pPr marL="0" marR="0" lvl="4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/>
              <a:t>Presentation title (to edit, click Insert &gt; Header &amp; Footer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E1512B7-A4D3-45D6-AC99-9D6C4D21B5B0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62F2C062-E167-4E4B-BE9F-9B89680DBC9C}" type="datetime4">
              <a:rPr lang="en-GB" altLang="en-US" smtClean="0"/>
              <a:t>6 July 2025</a:t>
            </a:fld>
            <a:endParaRPr lang="en-GB" alt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6216000" y="2159001"/>
            <a:ext cx="5491200" cy="3959225"/>
          </a:xfrm>
        </p:spPr>
        <p:txBody>
          <a:bodyPr/>
          <a:lstStyle>
            <a:lvl1pPr marL="0" marR="0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marL="0" marR="0" lvl="0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Second level</a:t>
            </a:r>
          </a:p>
          <a:p>
            <a:pPr marL="0" marR="0" lvl="2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Third level</a:t>
            </a:r>
          </a:p>
          <a:p>
            <a:pPr marL="0" marR="0" lvl="3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Fourth level</a:t>
            </a:r>
          </a:p>
          <a:p>
            <a:pPr marL="0" marR="0" lvl="4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Fifth level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D1CB304-A75F-B06D-7573-8AB17AE4F8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0602" y="43697"/>
            <a:ext cx="1727441" cy="546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0491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F1FB793-33ED-0544-8FE9-0B2A557F78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9025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5"/>
          <p:cNvSpPr>
            <a:spLocks noChangeArrowheads="1"/>
          </p:cNvSpPr>
          <p:nvPr userDrawn="1"/>
        </p:nvSpPr>
        <p:spPr bwMode="auto">
          <a:xfrm>
            <a:off x="0" y="301"/>
            <a:ext cx="12192000" cy="23856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 sz="2400"/>
          </a:p>
        </p:txBody>
      </p:sp>
      <p:sp>
        <p:nvSpPr>
          <p:cNvPr id="374788" name="Line 4"/>
          <p:cNvSpPr>
            <a:spLocks noChangeShapeType="1"/>
          </p:cNvSpPr>
          <p:nvPr/>
        </p:nvSpPr>
        <p:spPr bwMode="auto">
          <a:xfrm>
            <a:off x="478367" y="4584000"/>
            <a:ext cx="7198784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2400"/>
          </a:p>
        </p:txBody>
      </p:sp>
      <p:sp>
        <p:nvSpPr>
          <p:cNvPr id="374791" name="Line 7"/>
          <p:cNvSpPr>
            <a:spLocks noChangeShapeType="1"/>
          </p:cNvSpPr>
          <p:nvPr/>
        </p:nvSpPr>
        <p:spPr bwMode="auto">
          <a:xfrm>
            <a:off x="0" y="2386013"/>
            <a:ext cx="12192000" cy="0"/>
          </a:xfrm>
          <a:prstGeom prst="line">
            <a:avLst/>
          </a:prstGeom>
          <a:noFill/>
          <a:ln w="317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2400"/>
          </a:p>
        </p:txBody>
      </p:sp>
      <p:sp>
        <p:nvSpPr>
          <p:cNvPr id="374800" name="Line 16"/>
          <p:cNvSpPr>
            <a:spLocks noChangeShapeType="1"/>
          </p:cNvSpPr>
          <p:nvPr/>
        </p:nvSpPr>
        <p:spPr bwMode="auto">
          <a:xfrm>
            <a:off x="0" y="6732589"/>
            <a:ext cx="12192000" cy="1587"/>
          </a:xfrm>
          <a:prstGeom prst="line">
            <a:avLst/>
          </a:prstGeom>
          <a:noFill/>
          <a:ln w="317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2400"/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auto">
          <a:xfrm>
            <a:off x="0" y="6734400"/>
            <a:ext cx="12192000" cy="1248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 sz="240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5349215"/>
            <a:ext cx="7198784" cy="288032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467"/>
            </a:lvl1pPr>
          </a:lstStyle>
          <a:p>
            <a:r>
              <a:rPr lang="en-GB" altLang="en-US" kern="0"/>
              <a:t>Event title [optional]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12B63D-6FD9-AF46-870B-CAEC5D1AA08F}"/>
              </a:ext>
            </a:extLst>
          </p:cNvPr>
          <p:cNvSpPr txBox="1"/>
          <p:nvPr userDrawn="1"/>
        </p:nvSpPr>
        <p:spPr>
          <a:xfrm>
            <a:off x="3985102" y="722990"/>
            <a:ext cx="74630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5400" b="1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ordination</a:t>
            </a:r>
            <a:r>
              <a:rPr lang="en-NL" sz="5400">
                <a:solidFill>
                  <a:schemeClr val="bg1"/>
                </a:solidFill>
              </a:rPr>
              <a:t> </a:t>
            </a:r>
            <a:r>
              <a:rPr lang="en-NL" sz="5400" b="1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entre</a:t>
            </a:r>
          </a:p>
        </p:txBody>
      </p:sp>
      <p:sp>
        <p:nvSpPr>
          <p:cNvPr id="18" name="Rectangle 2">
            <a:extLst>
              <a:ext uri="{FF2B5EF4-FFF2-40B4-BE49-F238E27FC236}">
                <a16:creationId xmlns:a16="http://schemas.microsoft.com/office/drawing/2014/main" id="{D006F15E-B4FC-FD4F-B887-74CD437B10C1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8366" y="3429000"/>
            <a:ext cx="7198783" cy="936000"/>
          </a:xfrm>
        </p:spPr>
        <p:txBody>
          <a:bodyPr anchor="b"/>
          <a:lstStyle>
            <a:lvl1pPr>
              <a:lnSpc>
                <a:spcPts val="2100"/>
              </a:lnSpc>
              <a:defRPr sz="1900"/>
            </a:lvl1pPr>
          </a:lstStyle>
          <a:p>
            <a:pPr lvl="0"/>
            <a:r>
              <a:rPr lang="en-GB" altLang="en-US" noProof="0"/>
              <a:t>Click to add title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4B5EC38A-F54A-5D4F-ADE3-1F0ED7FA4100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8366" y="4816087"/>
            <a:ext cx="7198782" cy="39390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marR="0" indent="0" algn="l" defTabSz="8072438" rtl="0" eaLnBrk="1" fontAlgn="base" latinLnBrk="0" hangingPunct="1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 sz="1050"/>
            </a:lvl1pPr>
          </a:lstStyle>
          <a:p>
            <a:pPr marL="0" marR="0" lvl="0" indent="0" algn="l" defTabSz="8072438" rtl="0" eaLnBrk="1" fontAlgn="base" latinLnBrk="0" hangingPunct="1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 altLang="en-US" noProof="0"/>
              <a:t>Click to add autho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379F251-64C9-C844-B908-E77AF091FD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4726" y="464577"/>
            <a:ext cx="3136939" cy="1441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7836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 b="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8368" y="2159001"/>
            <a:ext cx="5491200" cy="3959225"/>
          </a:xfrm>
        </p:spPr>
        <p:txBody>
          <a:bodyPr/>
          <a:lstStyle>
            <a:lvl1pPr marL="0" marR="0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marL="0" marR="0" lvl="0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Second level</a:t>
            </a:r>
          </a:p>
          <a:p>
            <a:pPr marL="0" marR="0" lvl="2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Third level</a:t>
            </a:r>
          </a:p>
          <a:p>
            <a:pPr marL="0" marR="0" lvl="3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Fourth level</a:t>
            </a:r>
          </a:p>
          <a:p>
            <a:pPr marL="0" marR="0" lvl="4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/>
              <a:t>Introduction of the DARWIN EU® Coordination Centr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E1512B7-A4D3-45D6-AC99-9D6C4D21B5B0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80DD308B-ED36-E64B-93F9-7E67E07879F0}" type="datetime4">
              <a:rPr lang="en-US" altLang="en-US" smtClean="0"/>
              <a:t>July 6, 2025</a:t>
            </a:fld>
            <a:endParaRPr lang="en-GB" alt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6216000" y="2159001"/>
            <a:ext cx="5491200" cy="3959225"/>
          </a:xfrm>
        </p:spPr>
        <p:txBody>
          <a:bodyPr/>
          <a:lstStyle>
            <a:lvl1pPr marL="0" marR="0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marL="0" marR="0" lvl="0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Second level</a:t>
            </a:r>
          </a:p>
          <a:p>
            <a:pPr marL="0" marR="0" lvl="2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Third level</a:t>
            </a:r>
          </a:p>
          <a:p>
            <a:pPr marL="0" marR="0" lvl="3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Fourth level</a:t>
            </a:r>
          </a:p>
          <a:p>
            <a:pPr marL="0" marR="0" lvl="4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Fifth level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FF4CC3B-301A-3442-BA3E-4FC6EC4393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161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altLang="en-US"/>
              <a:t>Introduction of the DARWIN EU® Coordination Cent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468437-DC6C-443C-8387-7F3DABA73C17}" type="slidenum">
              <a:rPr lang="en-GB" altLang="en-US" smtClean="0"/>
              <a:pPr/>
              <a:t>‹#›</a:t>
            </a:fld>
            <a:endParaRPr lang="en-GB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64294A7-4450-7B45-96E4-7C6E7FEA6AD3}" type="datetime4">
              <a:rPr lang="en-US" altLang="en-US" smtClean="0"/>
              <a:t>July 6, 2025</a:t>
            </a:fld>
            <a:endParaRPr lang="en-GB" altLang="en-US"/>
          </a:p>
        </p:txBody>
      </p:sp>
      <p:sp>
        <p:nvSpPr>
          <p:cNvPr id="6" name="Line 2"/>
          <p:cNvSpPr>
            <a:spLocks noChangeShapeType="1"/>
          </p:cNvSpPr>
          <p:nvPr userDrawn="1"/>
        </p:nvSpPr>
        <p:spPr bwMode="auto">
          <a:xfrm>
            <a:off x="478367" y="3778251"/>
            <a:ext cx="8160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240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2661380"/>
            <a:ext cx="8160000" cy="1007531"/>
          </a:xfrm>
        </p:spPr>
        <p:txBody>
          <a:bodyPr anchor="b" anchorCtr="0"/>
          <a:lstStyle>
            <a:lvl1pPr>
              <a:lnSpc>
                <a:spcPts val="3200"/>
              </a:lnSpc>
              <a:spcAft>
                <a:spcPts val="0"/>
              </a:spcAft>
              <a:defRPr sz="2800" b="0">
                <a:solidFill>
                  <a:srgbClr val="003399"/>
                </a:solidFill>
              </a:defRPr>
            </a:lvl1pPr>
          </a:lstStyle>
          <a:p>
            <a:pPr lvl="0"/>
            <a:r>
              <a:rPr lang="en-US"/>
              <a:t>Section titl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80484" y="3909054"/>
            <a:ext cx="8159749" cy="230336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Section subtitle or brief intro tex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0C733E6-8EF0-DA46-A45D-47180BF0F0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3339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FE915A8-3115-FB4D-AB00-D5972D6FD9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3AAC4C9B-5EDF-E04C-895F-E5EF455017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B47BF8-6ACE-D14D-B9E4-AE058DD2ED63}" type="datetime4">
              <a:rPr lang="en-US" altLang="en-US" smtClean="0"/>
              <a:t>July 6, 2025</a:t>
            </a:fld>
            <a:endParaRPr lang="en-GB" alt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B2D78615-58DB-774E-96A8-AEF5504E8F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4332" y="6424039"/>
            <a:ext cx="8638116" cy="292100"/>
          </a:xfrm>
        </p:spPr>
        <p:txBody>
          <a:bodyPr/>
          <a:lstStyle/>
          <a:p>
            <a:r>
              <a:rPr lang="en-GB" altLang="en-US"/>
              <a:t>Introduction of the DARWIN EU® Coordination Centre 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D97840BC-3B6B-8D4E-ABC6-E773A96B2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68437-DC6C-443C-8387-7F3DABA73C17}" type="slidenum">
              <a:rPr lang="en-GB" altLang="en-US" smtClean="0"/>
              <a:pPr/>
              <a:t>‹#›</a:t>
            </a:fld>
            <a:endParaRPr lang="en-GB" alt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7A67949F-326B-3D45-9AD6-F692D580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7926511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rmal content_title_in_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9816" y="1021081"/>
            <a:ext cx="11232000" cy="39592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FE915A8-3115-FB4D-AB00-D5972D6FD9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3AAC4C9B-5EDF-E04C-895F-E5EF455017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B47BF8-6ACE-D14D-B9E4-AE058DD2ED63}" type="datetime4">
              <a:rPr lang="en-US" altLang="en-US" smtClean="0"/>
              <a:t>July 6, 2025</a:t>
            </a:fld>
            <a:endParaRPr lang="en-GB" alt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B2D78615-58DB-774E-96A8-AEF5504E8F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4332" y="6424039"/>
            <a:ext cx="8638116" cy="292100"/>
          </a:xfrm>
        </p:spPr>
        <p:txBody>
          <a:bodyPr/>
          <a:lstStyle/>
          <a:p>
            <a:r>
              <a:rPr lang="en-GB" altLang="en-US"/>
              <a:t>Introduction of the DARWIN EU® Coordination Centre 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D97840BC-3B6B-8D4E-ABC6-E773A96B2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68437-DC6C-443C-8387-7F3DABA73C17}" type="slidenum">
              <a:rPr lang="en-GB" altLang="en-US" smtClean="0"/>
              <a:pPr/>
              <a:t>‹#›</a:t>
            </a:fld>
            <a:endParaRPr lang="en-GB" alt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7A67949F-326B-3D45-9AD6-F692D580B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268" y="141861"/>
            <a:ext cx="11232000" cy="9509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5376350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u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8368" y="2159001"/>
            <a:ext cx="5491200" cy="395922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6652" y="2159001"/>
            <a:ext cx="5490633" cy="395922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/>
              <a:t>Introduction of the DARWIN EU® Coordination Centr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E1512B7-A4D3-45D6-AC99-9D6C4D21B5B0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558FA254-4C2D-BF42-90E9-EE5B4E8BE622}" type="datetime4">
              <a:rPr lang="en-US" altLang="en-US" smtClean="0"/>
              <a:t>July 6, 2025</a:t>
            </a:fld>
            <a:endParaRPr lang="en-GB" alt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5F9591E-A173-C449-8B9B-825F2FF8DA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3004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/>
              <a:t>Introduction of the DARWIN EU® Coordination Cent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4A0FAAC-E39B-4479-B08E-E201E90F7F69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73B7B2BF-0B26-8043-B02B-C92CE7DA1758}" type="datetime4">
              <a:rPr lang="en-US" altLang="en-US" smtClean="0"/>
              <a:t>July 6, 2025</a:t>
            </a:fld>
            <a:endParaRPr lang="en-GB" alt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57570CA-035C-5E4D-A191-274C042411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7989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_in_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816" y="160337"/>
            <a:ext cx="11232000" cy="9509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/>
              <a:t>Introduction of the DARWIN EU® Coordination Cent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4A0FAAC-E39B-4479-B08E-E201E90F7F69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73B7B2BF-0B26-8043-B02B-C92CE7DA1758}" type="datetime4">
              <a:rPr lang="en-US" altLang="en-US" smtClean="0"/>
              <a:t>July 6, 2025</a:t>
            </a:fld>
            <a:endParaRPr lang="en-GB" alt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57570CA-035C-5E4D-A191-274C042411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6478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672000"/>
            <a:ext cx="12192000" cy="60624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C7C25A-B884-5848-9386-2597D99ADC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3470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altLang="en-US"/>
              <a:t>Presentation title (to edit, click Insert &gt; Header &amp; Footer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468437-DC6C-443C-8387-7F3DABA73C17}" type="slidenum">
              <a:rPr lang="en-GB" altLang="en-US" smtClean="0"/>
              <a:pPr/>
              <a:t>‹#›</a:t>
            </a:fld>
            <a:endParaRPr lang="en-GB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1CC13E8-A41A-46CD-8351-C10FC6EEA2BC}" type="datetime4">
              <a:rPr lang="en-GB" altLang="en-US" smtClean="0"/>
              <a:t>6 July 2025</a:t>
            </a:fld>
            <a:endParaRPr lang="en-GB" altLang="en-US"/>
          </a:p>
        </p:txBody>
      </p:sp>
      <p:sp>
        <p:nvSpPr>
          <p:cNvPr id="6" name="Line 2"/>
          <p:cNvSpPr>
            <a:spLocks noChangeShapeType="1"/>
          </p:cNvSpPr>
          <p:nvPr userDrawn="1"/>
        </p:nvSpPr>
        <p:spPr bwMode="auto">
          <a:xfrm>
            <a:off x="478367" y="3778251"/>
            <a:ext cx="8160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240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2661380"/>
            <a:ext cx="8160000" cy="1007531"/>
          </a:xfrm>
        </p:spPr>
        <p:txBody>
          <a:bodyPr anchor="b" anchorCtr="0"/>
          <a:lstStyle>
            <a:lvl1pPr>
              <a:lnSpc>
                <a:spcPts val="3200"/>
              </a:lnSpc>
              <a:spcAft>
                <a:spcPts val="0"/>
              </a:spcAft>
              <a:defRPr sz="2800" b="0">
                <a:solidFill>
                  <a:srgbClr val="003399"/>
                </a:solidFill>
              </a:defRPr>
            </a:lvl1pPr>
          </a:lstStyle>
          <a:p>
            <a:pPr lvl="0"/>
            <a:r>
              <a:rPr lang="en-US"/>
              <a:t>Section titl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80484" y="3909054"/>
            <a:ext cx="8159749" cy="230336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Section subtitle or brief intro tex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3848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F1FB793-33ED-0544-8FE9-0B2A557F78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8256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0C079A-FB00-398B-31BD-C24A143864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BBC27D-7BB5-1CC1-C10A-A918A37EB7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E83B25-619E-9095-3406-178B06B335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AC4B6-2DB7-407C-AE1E-0F15BB40DA0B}" type="datetimeFigureOut">
              <a:rPr lang="en-GB" smtClean="0"/>
              <a:t>06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B515E4-BA79-58F0-069D-01A10CE358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65FBCB-C7D3-C970-B654-A24D103476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A35A6-B5A8-45D2-AF41-3455EF53F7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18716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407702" y="3807052"/>
            <a:ext cx="5376597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/>
          </a:p>
        </p:txBody>
      </p:sp>
      <p:sp>
        <p:nvSpPr>
          <p:cNvPr id="5" name="Subtitle 2"/>
          <p:cNvSpPr txBox="1">
            <a:spLocks/>
          </p:cNvSpPr>
          <p:nvPr userDrawn="1"/>
        </p:nvSpPr>
        <p:spPr>
          <a:xfrm>
            <a:off x="2639616" y="2180456"/>
            <a:ext cx="7008779" cy="600472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CA" sz="1800" b="1">
                <a:latin typeface="Calibri Light" panose="020F0302020204030204" pitchFamily="34" charset="0"/>
              </a:rPr>
              <a:t>CANADIAN NETWORK FOR OBSERVATIONAL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CA" sz="1800" b="1">
                <a:latin typeface="Calibri Light" panose="020F0302020204030204" pitchFamily="34" charset="0"/>
              </a:rPr>
              <a:t>DRUG EFFECT STUDIES (CNODES)</a:t>
            </a:r>
            <a:endParaRPr lang="en-CA" sz="1800" b="1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911424" y="2852936"/>
            <a:ext cx="10363200" cy="792088"/>
          </a:xfrm>
        </p:spPr>
        <p:txBody>
          <a:bodyPr/>
          <a:lstStyle>
            <a:lvl1pPr algn="ctr">
              <a:defRPr sz="4400" b="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911424" y="4221088"/>
            <a:ext cx="10369152" cy="504056"/>
          </a:xfrm>
        </p:spPr>
        <p:txBody>
          <a:bodyPr anchor="ctr" anchorCtr="0"/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611988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424" y="116632"/>
            <a:ext cx="10363200" cy="648072"/>
          </a:xfrm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11425" y="764704"/>
            <a:ext cx="10367433" cy="359792"/>
          </a:xfrm>
        </p:spPr>
        <p:txBody>
          <a:bodyPr/>
          <a:lstStyle>
            <a:lvl1pPr marL="0" indent="0" algn="l">
              <a:buNone/>
              <a:defRPr sz="2800" i="1">
                <a:solidFill>
                  <a:srgbClr val="C81410"/>
                </a:solidFill>
                <a:latin typeface="Calibri Light" panose="020F03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edit Master subtext styles</a:t>
            </a:r>
          </a:p>
        </p:txBody>
      </p:sp>
    </p:spTree>
    <p:extLst>
      <p:ext uri="{BB962C8B-B14F-4D97-AF65-F5344CB8AC3E}">
        <p14:creationId xmlns:p14="http://schemas.microsoft.com/office/powerpoint/2010/main" val="28485549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424" y="116632"/>
            <a:ext cx="10363200" cy="10081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>
                <a:latin typeface="Calibri Light" panose="020F0302020204030204" pitchFamily="34" charset="0"/>
              </a:defRPr>
            </a:lvl1pPr>
            <a:lvl2pPr>
              <a:defRPr lang="en-US" sz="2800" dirty="0" smtClean="0">
                <a:latin typeface="Calibri Light" panose="020F0302020204030204" pitchFamily="34" charset="0"/>
              </a:defRPr>
            </a:lvl2pPr>
            <a:lvl3pPr>
              <a:defRPr lang="en-US" dirty="0" smtClean="0">
                <a:latin typeface="Calibri Light" panose="020F0302020204030204" pitchFamily="34" charset="0"/>
              </a:defRPr>
            </a:lvl3pPr>
            <a:lvl4pPr>
              <a:defRPr lang="en-US" dirty="0" smtClean="0">
                <a:latin typeface="Calibri Light" panose="020F0302020204030204" pitchFamily="34" charset="0"/>
              </a:defRPr>
            </a:lvl4pPr>
            <a:lvl5pPr>
              <a:defRPr lang="en-US" dirty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934910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title 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424" y="2492896"/>
            <a:ext cx="10363200" cy="792088"/>
          </a:xfrm>
        </p:spPr>
        <p:txBody>
          <a:bodyPr/>
          <a:lstStyle>
            <a:lvl1pPr>
              <a:defRPr b="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424" y="3284984"/>
            <a:ext cx="10369152" cy="504056"/>
          </a:xfrm>
        </p:spPr>
        <p:txBody>
          <a:bodyPr anchor="ctr" anchorCtr="0"/>
          <a:lstStyle>
            <a:lvl1pPr marL="0" indent="0" algn="l">
              <a:buNone/>
              <a:defRPr sz="2800" i="1">
                <a:solidFill>
                  <a:srgbClr val="C00000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 descr="cihr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0416" y="5620044"/>
            <a:ext cx="2063552" cy="1049316"/>
          </a:xfrm>
          <a:prstGeom prst="rect">
            <a:avLst/>
          </a:prstGeom>
        </p:spPr>
      </p:pic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1" y="5877272"/>
            <a:ext cx="5304452" cy="720080"/>
          </a:xfrm>
          <a:prstGeom prst="rect">
            <a:avLst/>
          </a:prstGeom>
        </p:spPr>
      </p:pic>
      <p:sp>
        <p:nvSpPr>
          <p:cNvPr id="6" name="Subtitle 2"/>
          <p:cNvSpPr txBox="1">
            <a:spLocks/>
          </p:cNvSpPr>
          <p:nvPr userDrawn="1"/>
        </p:nvSpPr>
        <p:spPr bwMode="auto">
          <a:xfrm>
            <a:off x="911424" y="4077072"/>
            <a:ext cx="10369152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81410"/>
              </a:buClr>
              <a:buFont typeface="Arial" panose="020B0604020202020204" pitchFamily="34" charset="0"/>
              <a:buNone/>
              <a:defRPr sz="2800" i="1">
                <a:solidFill>
                  <a:srgbClr val="C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81410"/>
              </a:buClr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81410"/>
              </a:buClr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81410"/>
              </a:buClr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81410"/>
              </a:buClr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2860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7432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2004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6576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sz="2400" i="0" kern="0">
                <a:solidFill>
                  <a:schemeClr val="tx1"/>
                </a:solidFill>
              </a:rPr>
              <a:t>Click to edit Master subtitle style</a:t>
            </a:r>
          </a:p>
        </p:txBody>
      </p:sp>
      <p:sp>
        <p:nvSpPr>
          <p:cNvPr id="8" name="Rectangle 7"/>
          <p:cNvSpPr/>
          <p:nvPr userDrawn="1"/>
        </p:nvSpPr>
        <p:spPr>
          <a:xfrm flipV="1">
            <a:off x="1005936" y="3830896"/>
            <a:ext cx="6528725" cy="2148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/>
          </a:p>
        </p:txBody>
      </p:sp>
    </p:spTree>
    <p:extLst>
      <p:ext uri="{BB962C8B-B14F-4D97-AF65-F5344CB8AC3E}">
        <p14:creationId xmlns:p14="http://schemas.microsoft.com/office/powerpoint/2010/main" val="309738600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484784"/>
            <a:ext cx="5080000" cy="4611216"/>
          </a:xfr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2400" b="0" dirty="0" smtClean="0"/>
            </a:lvl1pPr>
            <a:lvl2pPr>
              <a:defRPr lang="en-US" sz="2400" dirty="0" smtClean="0"/>
            </a:lvl2pPr>
            <a:lvl3pPr>
              <a:defRPr lang="en-US" sz="2400" dirty="0" smtClean="0"/>
            </a:lvl3pPr>
            <a:lvl4pPr>
              <a:defRPr lang="en-US" sz="2400" dirty="0" smtClean="0"/>
            </a:lvl4pPr>
            <a:lvl5pPr>
              <a:defRPr lang="en-US" sz="2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84784"/>
            <a:ext cx="5080000" cy="4611216"/>
          </a:xfr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2400" b="0" dirty="0" smtClean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>
              <a:defRPr lang="en-US" sz="2400" dirty="0" smtClean="0">
                <a:latin typeface="Calibri Light" panose="020F0302020204030204" pitchFamily="34" charset="0"/>
              </a:defRPr>
            </a:lvl2pPr>
            <a:lvl3pPr>
              <a:defRPr lang="en-US" sz="2400" dirty="0" smtClean="0">
                <a:latin typeface="Calibri Light" panose="020F0302020204030204" pitchFamily="34" charset="0"/>
              </a:defRPr>
            </a:lvl3pPr>
            <a:lvl4pPr>
              <a:defRPr lang="en-US" sz="2400" dirty="0" smtClean="0">
                <a:latin typeface="Calibri Light" panose="020F0302020204030204" pitchFamily="34" charset="0"/>
              </a:defRPr>
            </a:lvl4pPr>
            <a:lvl5pPr>
              <a:defRPr lang="en-US" sz="2400" dirty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98002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98667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393" y="332656"/>
            <a:ext cx="4011084" cy="936104"/>
          </a:xfrm>
        </p:spPr>
        <p:txBody>
          <a:bodyPr anchor="b"/>
          <a:lstStyle>
            <a:lvl1pPr algn="l">
              <a:defRPr sz="2000" b="0">
                <a:solidFill>
                  <a:srgbClr val="C81410"/>
                </a:solidFill>
                <a:latin typeface="Franklin Gothic Demi" panose="020B0703020102020204" pitchFamily="34" charset="0"/>
                <a:cs typeface="Franklin Gothic Demi" panose="020B07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332657"/>
            <a:ext cx="6815667" cy="5793507"/>
          </a:xfrm>
        </p:spPr>
        <p:txBody>
          <a:bodyPr/>
          <a:lstStyle>
            <a:lvl1pPr marL="342900" indent="-342900">
              <a:buClr>
                <a:srgbClr val="C81410"/>
              </a:buClr>
              <a:buFont typeface="Arial" panose="020B0604020202020204" pitchFamily="34" charset="0"/>
              <a:buChar char="•"/>
              <a:defRPr sz="2800"/>
            </a:lvl1pPr>
            <a:lvl2pPr marL="742950" indent="-285750">
              <a:buClr>
                <a:srgbClr val="C81410"/>
              </a:buClr>
              <a:buFont typeface="Arial" panose="020B0604020202020204" pitchFamily="34" charset="0"/>
              <a:buChar char="•"/>
              <a:defRPr sz="2800"/>
            </a:lvl2pPr>
            <a:lvl3pPr marL="1143000" indent="-228600">
              <a:buClr>
                <a:srgbClr val="C81410"/>
              </a:buClr>
              <a:buFont typeface="Arial" panose="020B0604020202020204" pitchFamily="34" charset="0"/>
              <a:buChar char="•"/>
              <a:defRPr sz="2800"/>
            </a:lvl3pPr>
            <a:lvl4pPr marL="1600200" indent="-228600">
              <a:buClr>
                <a:srgbClr val="C81410"/>
              </a:buClr>
              <a:buFont typeface="Arial" panose="020B0604020202020204" pitchFamily="34" charset="0"/>
              <a:buChar char="•"/>
              <a:defRPr sz="2800"/>
            </a:lvl4pPr>
            <a:lvl5pPr marL="2057400" indent="-228600">
              <a:buClr>
                <a:srgbClr val="C81410"/>
              </a:buClr>
              <a:buFont typeface="Arial" panose="020B0604020202020204" pitchFamily="34" charset="0"/>
              <a:buChar char="•"/>
              <a:defRPr sz="2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268760"/>
            <a:ext cx="4011084" cy="4857403"/>
          </a:xfrm>
        </p:spPr>
        <p:txBody>
          <a:bodyPr/>
          <a:lstStyle>
            <a:lvl1pPr marL="0" indent="0">
              <a:buNone/>
              <a:defRPr sz="14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58369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ctr">
              <a:defRPr sz="2000" b="0">
                <a:latin typeface="Franklin Gothic Demi" panose="020B07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23392" y="404665"/>
            <a:ext cx="10945216" cy="432291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 algn="ctr">
              <a:buNone/>
              <a:defRPr sz="2000" i="1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79849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orm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/>
              <a:t>Presentation title (to edit, click Insert &gt; Header &amp; Footer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957F717-FD23-493C-BA54-F5AB575BDEC9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>
          <a:xfrm>
            <a:off x="9792000" y="6405563"/>
            <a:ext cx="1920000" cy="241300"/>
          </a:xfrm>
        </p:spPr>
        <p:txBody>
          <a:bodyPr/>
          <a:lstStyle>
            <a:lvl1pPr>
              <a:defRPr/>
            </a:lvl1pPr>
          </a:lstStyle>
          <a:p>
            <a:fld id="{B1263A05-783B-42EA-8A02-C6B275CDB103}" type="datetime4">
              <a:rPr lang="en-GB" altLang="en-US" smtClean="0"/>
              <a:t>6 July 2025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93415877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Layou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4038" y="2924944"/>
            <a:ext cx="5423925" cy="736298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351618" y="1052736"/>
            <a:ext cx="7200900" cy="864096"/>
          </a:xfrm>
        </p:spPr>
        <p:txBody>
          <a:bodyPr/>
          <a:lstStyle>
            <a:lvl1pPr marL="0" indent="0" algn="ctr">
              <a:buNone/>
              <a:defRPr sz="5400" i="1">
                <a:solidFill>
                  <a:srgbClr val="C00000"/>
                </a:solidFill>
                <a:latin typeface="Franklin Gothic Demi" panose="020B0703020102020204" pitchFamily="34" charset="0"/>
                <a:cs typeface="Franklin Gothic Demi" panose="020B070302010202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351585" y="1988841"/>
            <a:ext cx="7200900" cy="648072"/>
          </a:xfrm>
        </p:spPr>
        <p:txBody>
          <a:bodyPr/>
          <a:lstStyle>
            <a:lvl1pPr marL="0" indent="0" algn="ctr">
              <a:buNone/>
              <a:defRPr sz="24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www.cnodes.ca</a:t>
            </a:r>
          </a:p>
        </p:txBody>
      </p:sp>
      <p:pic>
        <p:nvPicPr>
          <p:cNvPr id="5" name="Picture 4" descr="cihr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0416" y="5620044"/>
            <a:ext cx="2063552" cy="1049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22966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39273" y="1940129"/>
            <a:ext cx="10305088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ts val="5833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5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309639" y="3949916"/>
            <a:ext cx="6890587" cy="64517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17">
                <a:solidFill>
                  <a:srgbClr val="63666A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71C8D1-5D0B-0948-B8F2-518DAA97557D}"/>
              </a:ext>
            </a:extLst>
          </p:cNvPr>
          <p:cNvSpPr txBox="1"/>
          <p:nvPr userDrawn="1"/>
        </p:nvSpPr>
        <p:spPr>
          <a:xfrm>
            <a:off x="7435273" y="5949812"/>
            <a:ext cx="4023374" cy="29077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 algn="r" rtl="0" eaLnBrk="1" fontAlgn="base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</a:pPr>
            <a:r>
              <a:rPr lang="en-US" sz="1500" b="1" baseline="0">
                <a:solidFill>
                  <a:srgbClr val="63666A"/>
                </a:solidFill>
                <a:latin typeface="+mn-lt"/>
                <a:sym typeface="Arial" pitchFamily="-65" charset="0"/>
              </a:rPr>
              <a:t>OFFICE OF THE CHIEF MEDICAL OFFIC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3A3FE84-FC3D-644D-99E5-7853E222E4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10" t="40948" r="25502" b="42605"/>
          <a:stretch/>
        </p:blipFill>
        <p:spPr>
          <a:xfrm>
            <a:off x="529167" y="350280"/>
            <a:ext cx="3344333" cy="87841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0CE227A-CEAE-A549-9F0A-F4A5D489EB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6176" y="1941476"/>
            <a:ext cx="633161" cy="633161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, sub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7614240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17">
                <a:solidFill>
                  <a:srgbClr val="63666A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ts val="66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833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373A954A-27DB-7045-B11E-61F94F3ADB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rgbClr val="CA001B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red">
    <p:bg>
      <p:bgPr>
        <a:solidFill>
          <a:srgbClr val="C81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ts val="66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833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8C932BF-DD58-154B-A4E3-23060AC64C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chemeClr val="bg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red">
    <p:bg>
      <p:bgPr>
        <a:solidFill>
          <a:srgbClr val="C81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17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ts val="66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833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AB4E97E-4210-294F-BEBE-638D28A145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chemeClr val="bg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title, sub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E90CB681-D3F5-0A46-94C6-FE14623F669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17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ts val="66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833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AB4E97E-4210-294F-BEBE-638D28A145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chemeClr val="bg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58907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ts val="66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833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0A95CB3-4340-2F4E-9022-4AA5A3141B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chemeClr val="bg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17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ts val="66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833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6EFD4E2-C262-2648-8FFB-83A3F550BA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chemeClr val="bg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ts val="66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833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BD04A65-C243-1044-862F-D034997EBA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chemeClr val="bg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17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ts val="66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833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9C0F31F-A06C-ED4E-9EC3-F188A2BEE1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chemeClr val="bg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u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8368" y="2159001"/>
            <a:ext cx="5491200" cy="395922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6652" y="2159001"/>
            <a:ext cx="5490633" cy="395922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/>
              <a:t>Presentation title (to edit, click Insert &gt; Header &amp; Footer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E1512B7-A4D3-45D6-AC99-9D6C4D21B5B0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5CE12D96-28E1-499A-BDC7-44E651382E56}" type="datetime4">
              <a:rPr lang="en-GB" altLang="en-US" smtClean="0"/>
              <a:t>6 July 2025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84141441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384721"/>
          </a:xfrm>
        </p:spPr>
        <p:txBody>
          <a:bodyPr/>
          <a:lstStyle>
            <a:lvl1pPr>
              <a:defRPr sz="25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5"/>
          </p:nvPr>
        </p:nvSpPr>
        <p:spPr>
          <a:xfrm>
            <a:off x="686268" y="1448594"/>
            <a:ext cx="10985780" cy="4193910"/>
          </a:xfrm>
        </p:spPr>
        <p:txBody>
          <a:bodyPr/>
          <a:lstStyle>
            <a:lvl1pPr marL="0" marR="0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>
                <a:solidFill>
                  <a:srgbClr val="63666A"/>
                </a:solidFill>
              </a:defRPr>
            </a:lvl1pPr>
            <a:lvl2pPr>
              <a:defRPr>
                <a:solidFill>
                  <a:srgbClr val="63666A"/>
                </a:solidFill>
              </a:defRPr>
            </a:lvl2pPr>
            <a:lvl3pPr>
              <a:defRPr>
                <a:solidFill>
                  <a:srgbClr val="63666A"/>
                </a:solidFill>
              </a:defRPr>
            </a:lvl3pPr>
            <a:lvl4pPr>
              <a:defRPr>
                <a:solidFill>
                  <a:srgbClr val="63666A"/>
                </a:solidFill>
              </a:defRPr>
            </a:lvl4pPr>
            <a:lvl5pPr>
              <a:defRPr>
                <a:solidFill>
                  <a:srgbClr val="63666A"/>
                </a:solidFill>
              </a:defRPr>
            </a:lvl5pPr>
          </a:lstStyle>
          <a:p>
            <a:pPr marL="0" marR="0" lvl="0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marL="0" marR="0" lvl="1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marL="0" marR="0" lvl="2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marL="0" marR="0" lvl="3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marL="0" marR="0" lvl="4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6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9361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2C16017-DB8A-8C45-A813-2C9D3D4462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rgbClr val="CA001B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404DD73-13DB-AA48-BC2F-7CF5F9B19A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250" y="824259"/>
            <a:ext cx="9144000" cy="256545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1667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1750"/>
            </a:lvl2pPr>
            <a:lvl3pPr>
              <a:defRPr sz="1750"/>
            </a:lvl3pPr>
            <a:lvl4pPr>
              <a:defRPr sz="1750"/>
            </a:lvl4pPr>
            <a:lvl5pPr>
              <a:defRPr sz="1750"/>
            </a:lvl5pPr>
          </a:lstStyle>
          <a:p>
            <a:pPr marL="0" lvl="0" indent="0" algn="l" rtl="0" eaLnBrk="0" fontAlgn="base" hangingPunct="0">
              <a:spcBef>
                <a:spcPts val="17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384721"/>
          </a:xfrm>
        </p:spPr>
        <p:txBody>
          <a:bodyPr/>
          <a:lstStyle>
            <a:lvl1pPr>
              <a:defRPr sz="25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5"/>
          </p:nvPr>
        </p:nvSpPr>
        <p:spPr>
          <a:xfrm>
            <a:off x="601601" y="1713178"/>
            <a:ext cx="10985780" cy="4193910"/>
          </a:xfrm>
        </p:spPr>
        <p:txBody>
          <a:bodyPr/>
          <a:lstStyle>
            <a:lvl1pPr marL="0" marR="0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/>
            </a:lvl1pPr>
          </a:lstStyle>
          <a:p>
            <a:pPr marL="0" marR="0" lvl="0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marL="0" marR="0" lvl="1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marL="0" marR="0" lvl="2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marL="0" marR="0" lvl="3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marL="0" marR="0" lvl="4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6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9361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7483" y="920750"/>
            <a:ext cx="10981267" cy="256545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1667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808FFAE-B848-7248-9021-C6E866B2CF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rgbClr val="CA001B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 title,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9361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44354AD-C2BA-FC4C-95FF-7A1E0CD9F4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rgbClr val="CA001B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981267" cy="3847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9361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F134F00-FCCF-094F-BD81-E35AEE2B06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rgbClr val="CA001B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header,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07483" y="1644123"/>
            <a:ext cx="10981267" cy="3665536"/>
          </a:xfrm>
        </p:spPr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9361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981267" cy="3847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39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1FF8E4D-69F3-2C4C-BE86-ACD58CD850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rgbClr val="CA001B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hart inf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5367" y="1713178"/>
            <a:ext cx="10981267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000" dirty="0" smtClean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0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9361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981267" cy="3847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39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2E1E81F-ABFE-914A-AF00-1ACC74A4A6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rgbClr val="CA001B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LEFT HALF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05367" y="1712915"/>
            <a:ext cx="5401733" cy="4379911"/>
          </a:xfrm>
        </p:spPr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/>
          </p:nvPr>
        </p:nvSpPr>
        <p:spPr>
          <a:xfrm>
            <a:off x="6185647" y="1712913"/>
            <a:ext cx="5401733" cy="4379912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lvl="1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9361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981267" cy="3847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39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6F0D9D8-8681-794A-A821-0523BB59C8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rgbClr val="CA001B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2/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601134" y="609361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7" name="Content Placeholder 11"/>
          <p:cNvSpPr>
            <a:spLocks noGrp="1"/>
          </p:cNvSpPr>
          <p:nvPr>
            <p:ph sz="quarter" idx="26"/>
          </p:nvPr>
        </p:nvSpPr>
        <p:spPr>
          <a:xfrm>
            <a:off x="4338918" y="1712913"/>
            <a:ext cx="7247715" cy="4379912"/>
          </a:xfrm>
        </p:spPr>
        <p:txBody>
          <a:bodyPr/>
          <a:lstStyle>
            <a:lvl1pPr marL="0" indent="0">
              <a:buNone/>
              <a:defRPr sz="25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7"/>
          </p:nvPr>
        </p:nvSpPr>
        <p:spPr>
          <a:xfrm>
            <a:off x="614893" y="1712915"/>
            <a:ext cx="3499908" cy="4379911"/>
          </a:xfrm>
        </p:spPr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981267" cy="3847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39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91E64C8-06AD-B640-B62C-C5E2C2B008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rgbClr val="CA001B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HALF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184900" y="1712915"/>
            <a:ext cx="5401733" cy="4379911"/>
          </a:xfrm>
        </p:spPr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5"/>
          </p:nvPr>
        </p:nvSpPr>
        <p:spPr>
          <a:xfrm>
            <a:off x="605367" y="1712913"/>
            <a:ext cx="5401733" cy="4379912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lvl="1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9361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981267" cy="3847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39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692D91B-31DE-D04A-A65E-B0368A0748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rgbClr val="CA001B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lumns 1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1"/>
          <p:cNvSpPr>
            <a:spLocks noGrp="1"/>
          </p:cNvSpPr>
          <p:nvPr>
            <p:ph sz="quarter" idx="15"/>
          </p:nvPr>
        </p:nvSpPr>
        <p:spPr>
          <a:xfrm>
            <a:off x="4341285" y="1712913"/>
            <a:ext cx="3509433" cy="4379912"/>
          </a:xfrm>
          <a:noFill/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lvl="1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7" name="Content Placeholder 11"/>
          <p:cNvSpPr>
            <a:spLocks noGrp="1"/>
          </p:cNvSpPr>
          <p:nvPr>
            <p:ph sz="quarter" idx="16"/>
          </p:nvPr>
        </p:nvSpPr>
        <p:spPr>
          <a:xfrm>
            <a:off x="8077201" y="1712913"/>
            <a:ext cx="3509433" cy="4379912"/>
          </a:xfrm>
          <a:noFill/>
        </p:spPr>
        <p:txBody>
          <a:bodyPr anchor="t"/>
          <a:lstStyle>
            <a:lvl1pPr marL="0" indent="0">
              <a:buNone/>
              <a:defRPr sz="2000"/>
            </a:lvl1pPr>
          </a:lstStyle>
          <a:p>
            <a:pPr lvl="0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lvl="1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8" name="Content Placeholder 11"/>
          <p:cNvSpPr>
            <a:spLocks noGrp="1"/>
          </p:cNvSpPr>
          <p:nvPr>
            <p:ph sz="quarter" idx="17"/>
          </p:nvPr>
        </p:nvSpPr>
        <p:spPr>
          <a:xfrm>
            <a:off x="605368" y="1712913"/>
            <a:ext cx="3509433" cy="4379912"/>
          </a:xfrm>
          <a:noFill/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lvl="1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601134" y="609361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981267" cy="3847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39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E19BFC4-F4ED-C64D-A7A5-54BC1E3DE0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rgbClr val="CA001B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/>
              <a:t>Presentation title (to edit, click Insert &gt; Header &amp; Footer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4A0FAAC-E39B-4479-B08E-E201E90F7F69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3541FDB1-4B42-47FB-9BD2-CE591D6239A8}" type="datetime4">
              <a:rPr lang="en-GB" altLang="en-US" smtClean="0"/>
              <a:t>6 July 2025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56064547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lumns 1x3 w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1"/>
          <p:cNvSpPr>
            <a:spLocks noGrp="1"/>
          </p:cNvSpPr>
          <p:nvPr>
            <p:ph sz="quarter" idx="15"/>
          </p:nvPr>
        </p:nvSpPr>
        <p:spPr>
          <a:xfrm>
            <a:off x="4341285" y="1743795"/>
            <a:ext cx="3509433" cy="4349029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91278" indent="0">
              <a:buNone/>
              <a:defRPr sz="1667"/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lvl="1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7" name="Content Placeholder 11"/>
          <p:cNvSpPr>
            <a:spLocks noGrp="1"/>
          </p:cNvSpPr>
          <p:nvPr>
            <p:ph sz="quarter" idx="16"/>
          </p:nvPr>
        </p:nvSpPr>
        <p:spPr>
          <a:xfrm>
            <a:off x="8077201" y="1743795"/>
            <a:ext cx="3509433" cy="4349029"/>
          </a:xfrm>
          <a:solidFill>
            <a:schemeClr val="bg1"/>
          </a:solidFill>
          <a:ln>
            <a:noFill/>
          </a:ln>
        </p:spPr>
        <p:txBody>
          <a:bodyPr anchor="t"/>
          <a:lstStyle>
            <a:lvl1pPr marL="91278" indent="0">
              <a:buNone/>
              <a:defRPr sz="1667"/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lvl="1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8" name="Content Placeholder 11"/>
          <p:cNvSpPr>
            <a:spLocks noGrp="1"/>
          </p:cNvSpPr>
          <p:nvPr>
            <p:ph sz="quarter" idx="17"/>
          </p:nvPr>
        </p:nvSpPr>
        <p:spPr>
          <a:xfrm>
            <a:off x="605368" y="1743795"/>
            <a:ext cx="3509433" cy="4349029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91278" indent="0">
              <a:buNone/>
              <a:defRPr sz="1667"/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lvl="1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601134" y="609361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981267" cy="3847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39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16E003A-2468-C84A-83F5-DA9D79A1C6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rgbClr val="CA001B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788281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lumns 1x3 wht hea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1"/>
          <p:cNvSpPr>
            <a:spLocks noGrp="1"/>
          </p:cNvSpPr>
          <p:nvPr>
            <p:ph sz="quarter" idx="15"/>
          </p:nvPr>
        </p:nvSpPr>
        <p:spPr>
          <a:xfrm>
            <a:off x="4341285" y="2217541"/>
            <a:ext cx="3509433" cy="3875283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91278" indent="0">
              <a:buNone/>
              <a:defRPr sz="1667"/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lvl="1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7" name="Content Placeholder 11"/>
          <p:cNvSpPr>
            <a:spLocks noGrp="1"/>
          </p:cNvSpPr>
          <p:nvPr>
            <p:ph sz="quarter" idx="16"/>
          </p:nvPr>
        </p:nvSpPr>
        <p:spPr>
          <a:xfrm>
            <a:off x="8077201" y="2217541"/>
            <a:ext cx="3509433" cy="3875283"/>
          </a:xfrm>
          <a:solidFill>
            <a:schemeClr val="bg1"/>
          </a:solidFill>
          <a:ln>
            <a:noFill/>
          </a:ln>
        </p:spPr>
        <p:txBody>
          <a:bodyPr anchor="t"/>
          <a:lstStyle>
            <a:lvl1pPr marL="91278" indent="0">
              <a:buNone/>
              <a:defRPr sz="1667"/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lvl="1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8" name="Content Placeholder 11"/>
          <p:cNvSpPr>
            <a:spLocks noGrp="1"/>
          </p:cNvSpPr>
          <p:nvPr>
            <p:ph sz="quarter" idx="17"/>
          </p:nvPr>
        </p:nvSpPr>
        <p:spPr>
          <a:xfrm>
            <a:off x="605368" y="2217541"/>
            <a:ext cx="3509433" cy="3875283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91278" indent="0">
              <a:buNone/>
              <a:defRPr sz="1667"/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lvl="1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914363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601134" y="609361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981267" cy="3847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39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4750" y="1753872"/>
            <a:ext cx="3508199" cy="433917"/>
          </a:xfrm>
          <a:solidFill>
            <a:srgbClr val="FFFFFF"/>
          </a:solidFill>
        </p:spPr>
        <p:txBody>
          <a:bodyPr anchor="ctr"/>
          <a:lstStyle>
            <a:lvl1pPr marL="91278" indent="0">
              <a:buNone/>
              <a:defRPr sz="1667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344117" y="1753872"/>
            <a:ext cx="3508199" cy="433917"/>
          </a:xfrm>
          <a:solidFill>
            <a:srgbClr val="FFFFFF"/>
          </a:solidFill>
        </p:spPr>
        <p:txBody>
          <a:bodyPr anchor="ctr"/>
          <a:lstStyle>
            <a:lvl1pPr marL="91278" indent="0">
              <a:buNone/>
              <a:defRPr sz="1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8073405" y="1753872"/>
            <a:ext cx="3517625" cy="433917"/>
          </a:xfrm>
          <a:solidFill>
            <a:srgbClr val="FFFFFF"/>
          </a:solidFill>
        </p:spPr>
        <p:txBody>
          <a:bodyPr anchor="ctr"/>
          <a:lstStyle>
            <a:lvl1pPr marL="91278" indent="0">
              <a:buNone/>
              <a:defRPr sz="1667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529A953-4204-604B-8AA5-918B0153CC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rgbClr val="CA001B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2248433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,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Full Bleed Image</a:t>
            </a:r>
          </a:p>
          <a:p>
            <a:endParaRPr lang="en-US"/>
          </a:p>
          <a:p>
            <a:r>
              <a:rPr lang="en-US"/>
              <a:t>No Copy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70" y="5694564"/>
            <a:ext cx="10981265" cy="39826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89611" numCol="1" anchor="b" anchorCtr="0" compatLnSpc="1">
            <a:prstTxWarp prst="textNoShape">
              <a:avLst/>
            </a:prstTxWarp>
            <a:spAutoFit/>
          </a:bodyPr>
          <a:lstStyle>
            <a:lvl1pPr marL="0" indent="0"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000" dirty="0" smtClean="0">
                <a:solidFill>
                  <a:schemeClr val="bg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 algn="r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None/>
              <a:defRPr lang="en-US" sz="14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605370" y="6055668"/>
            <a:ext cx="10981265" cy="230832"/>
          </a:xfrm>
        </p:spPr>
        <p:txBody>
          <a:bodyPr wrap="square" anchor="b" anchorCtr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4C74FA8-6906-FE4C-BE4E-86EFD51E88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rgbClr val="CA001B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, capti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Full Bleed Image</a:t>
            </a:r>
          </a:p>
          <a:p>
            <a:endParaRPr lang="en-US"/>
          </a:p>
          <a:p>
            <a:r>
              <a:rPr lang="en-US"/>
              <a:t>No Copy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5694564"/>
            <a:ext cx="10981267" cy="39826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89611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000" dirty="0" smtClean="0">
                <a:solidFill>
                  <a:schemeClr val="bg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 algn="r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None/>
              <a:defRPr lang="en-US" sz="14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605340" y="6055668"/>
            <a:ext cx="10981293" cy="23083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98A0B0D-D072-1E45-99AB-20AEC990E3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rgbClr val="CA001B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F37B81D7-9C1A-0545-89A2-7BADF3733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rgbClr val="CA001B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897945"/>
            <a:ext cx="10981267" cy="1709870"/>
          </a:xfrm>
        </p:spPr>
        <p:txBody>
          <a:bodyPr anchor="ctr"/>
          <a:lstStyle>
            <a:lvl1pPr algn="l">
              <a:lnSpc>
                <a:spcPts val="6666"/>
              </a:lnSpc>
              <a:defRPr sz="58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ts val="6666"/>
              </a:lnSpc>
              <a:spcBef>
                <a:spcPts val="0"/>
              </a:spcBef>
              <a:buNone/>
              <a:defRPr sz="3333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6BFA9D1-B085-5846-A200-FE86548640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chemeClr val="bg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or statemen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897945"/>
            <a:ext cx="10981267" cy="1709870"/>
          </a:xfrm>
        </p:spPr>
        <p:txBody>
          <a:bodyPr anchor="ctr"/>
          <a:lstStyle>
            <a:lvl1pPr algn="l">
              <a:lnSpc>
                <a:spcPts val="6666"/>
              </a:lnSpc>
              <a:defRPr sz="58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ts val="6666"/>
              </a:lnSpc>
              <a:spcBef>
                <a:spcPts val="0"/>
              </a:spcBef>
              <a:buNone/>
              <a:defRPr lang="en-US" sz="3333" b="1" dirty="0">
                <a:solidFill>
                  <a:schemeClr val="bg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D0B55F0-4DC7-D842-87A3-CA8350AFCD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chemeClr val="bg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897945"/>
            <a:ext cx="10981267" cy="1709870"/>
          </a:xfrm>
        </p:spPr>
        <p:txBody>
          <a:bodyPr anchor="ctr"/>
          <a:lstStyle>
            <a:lvl1pPr algn="l">
              <a:lnSpc>
                <a:spcPts val="6666"/>
              </a:lnSpc>
              <a:defRPr sz="58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ts val="6666"/>
              </a:lnSpc>
              <a:spcBef>
                <a:spcPts val="0"/>
              </a:spcBef>
              <a:buNone/>
              <a:defRPr lang="en-US" sz="3333" b="1" dirty="0">
                <a:solidFill>
                  <a:schemeClr val="bg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75B205-F5E4-EA4D-AED7-BA73122C1F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chemeClr val="bg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J&amp;J Signa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0029" y="-167345"/>
            <a:ext cx="9274352" cy="7166543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, header,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5367" y="1713178"/>
            <a:ext cx="10981267" cy="45550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917" b="1" dirty="0" smtClean="0">
                <a:solidFill>
                  <a:srgbClr val="000000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0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05367" y="2427290"/>
            <a:ext cx="10981267" cy="3665536"/>
          </a:xfrm>
        </p:spPr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9361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981267" cy="3847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39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5E13A6A-510C-604B-9F15-B8D25791A048}"/>
              </a:ext>
            </a:extLst>
          </p:cNvPr>
          <p:cNvSpPr txBox="1">
            <a:spLocks/>
          </p:cNvSpPr>
          <p:nvPr userDrawn="1"/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defTabSz="730213" rtl="0" fontAlgn="base">
              <a:spcBef>
                <a:spcPct val="50000"/>
              </a:spcBef>
              <a:spcAft>
                <a:spcPct val="0"/>
              </a:spcAft>
              <a:defRPr sz="1000" kern="1200">
                <a:solidFill>
                  <a:srgbClr val="CA001B"/>
                </a:solidFill>
                <a:latin typeface="Arial" pitchFamily="-65" charset="0"/>
                <a:ea typeface="Arial Unicode MS" pitchFamily="-65" charset="0"/>
                <a:cs typeface="Arial Unicode MS" pitchFamily="-65" charset="0"/>
              </a:defRPr>
            </a:lvl1pPr>
            <a:lvl2pPr marL="730213" indent="-273036" algn="l" defTabSz="730213" rtl="0" fontAlgn="base">
              <a:spcBef>
                <a:spcPct val="50000"/>
              </a:spcBef>
              <a:spcAft>
                <a:spcPct val="0"/>
              </a:spcAft>
              <a:defRPr sz="3000" kern="1200">
                <a:solidFill>
                  <a:schemeClr val="tx1"/>
                </a:solidFill>
                <a:latin typeface="Arial" pitchFamily="-65" charset="0"/>
                <a:ea typeface="Arial Unicode MS" pitchFamily="-65" charset="0"/>
                <a:cs typeface="Arial Unicode MS" pitchFamily="-65" charset="0"/>
              </a:defRPr>
            </a:lvl2pPr>
            <a:lvl3pPr marL="1462015" indent="-547661" algn="l" defTabSz="730213" rtl="0" fontAlgn="base">
              <a:spcBef>
                <a:spcPct val="50000"/>
              </a:spcBef>
              <a:spcAft>
                <a:spcPct val="0"/>
              </a:spcAft>
              <a:defRPr sz="3000" kern="1200">
                <a:solidFill>
                  <a:schemeClr val="tx1"/>
                </a:solidFill>
                <a:latin typeface="Arial" pitchFamily="-65" charset="0"/>
                <a:ea typeface="Arial Unicode MS" pitchFamily="-65" charset="0"/>
                <a:cs typeface="Arial Unicode MS" pitchFamily="-65" charset="0"/>
              </a:defRPr>
            </a:lvl3pPr>
            <a:lvl4pPr marL="2193816" indent="-822285" algn="l" defTabSz="730213" rtl="0" fontAlgn="base">
              <a:spcBef>
                <a:spcPct val="50000"/>
              </a:spcBef>
              <a:spcAft>
                <a:spcPct val="0"/>
              </a:spcAft>
              <a:defRPr sz="3000" kern="1200">
                <a:solidFill>
                  <a:schemeClr val="tx1"/>
                </a:solidFill>
                <a:latin typeface="Arial" pitchFamily="-65" charset="0"/>
                <a:ea typeface="Arial Unicode MS" pitchFamily="-65" charset="0"/>
                <a:cs typeface="Arial Unicode MS" pitchFamily="-65" charset="0"/>
              </a:defRPr>
            </a:lvl4pPr>
            <a:lvl5pPr marL="2925617" indent="-1096908" algn="l" defTabSz="730213" rtl="0" fontAlgn="base">
              <a:spcBef>
                <a:spcPct val="50000"/>
              </a:spcBef>
              <a:spcAft>
                <a:spcPct val="0"/>
              </a:spcAft>
              <a:defRPr sz="3000" kern="1200">
                <a:solidFill>
                  <a:schemeClr val="tx1"/>
                </a:solidFill>
                <a:latin typeface="Arial" pitchFamily="-65" charset="0"/>
                <a:ea typeface="Arial Unicode MS" pitchFamily="-65" charset="0"/>
                <a:cs typeface="Arial Unicode MS" pitchFamily="-65" charset="0"/>
              </a:defRPr>
            </a:lvl5pPr>
            <a:lvl6pPr marL="2285886" algn="l" defTabSz="457177" rtl="0" eaLnBrk="1" latinLnBrk="0" hangingPunct="1">
              <a:defRPr sz="3000" kern="1200">
                <a:solidFill>
                  <a:schemeClr val="tx1"/>
                </a:solidFill>
                <a:latin typeface="Arial" pitchFamily="-65" charset="0"/>
                <a:ea typeface="Arial Unicode MS" pitchFamily="-65" charset="0"/>
                <a:cs typeface="Arial Unicode MS" pitchFamily="-65" charset="0"/>
              </a:defRPr>
            </a:lvl6pPr>
            <a:lvl7pPr marL="2743063" algn="l" defTabSz="457177" rtl="0" eaLnBrk="1" latinLnBrk="0" hangingPunct="1">
              <a:defRPr sz="3000" kern="1200">
                <a:solidFill>
                  <a:schemeClr val="tx1"/>
                </a:solidFill>
                <a:latin typeface="Arial" pitchFamily="-65" charset="0"/>
                <a:ea typeface="Arial Unicode MS" pitchFamily="-65" charset="0"/>
                <a:cs typeface="Arial Unicode MS" pitchFamily="-65" charset="0"/>
              </a:defRPr>
            </a:lvl7pPr>
            <a:lvl8pPr marL="3200240" algn="l" defTabSz="457177" rtl="0" eaLnBrk="1" latinLnBrk="0" hangingPunct="1">
              <a:defRPr sz="3000" kern="1200">
                <a:solidFill>
                  <a:schemeClr val="tx1"/>
                </a:solidFill>
                <a:latin typeface="Arial" pitchFamily="-65" charset="0"/>
                <a:ea typeface="Arial Unicode MS" pitchFamily="-65" charset="0"/>
                <a:cs typeface="Arial Unicode MS" pitchFamily="-65" charset="0"/>
              </a:defRPr>
            </a:lvl8pPr>
            <a:lvl9pPr marL="3657417" algn="l" defTabSz="457177" rtl="0" eaLnBrk="1" latinLnBrk="0" hangingPunct="1">
              <a:defRPr sz="3000" kern="1200">
                <a:solidFill>
                  <a:schemeClr val="tx1"/>
                </a:solidFill>
                <a:latin typeface="Arial" pitchFamily="-65" charset="0"/>
                <a:ea typeface="Arial Unicode MS" pitchFamily="-65" charset="0"/>
                <a:cs typeface="Arial Unicode MS" pitchFamily="-65" charset="0"/>
              </a:defRPr>
            </a:lvl9pPr>
          </a:lstStyle>
          <a:p>
            <a:fld id="{AD816501-AAE5-214E-B100-00C3DC5F5E3F}" type="slidenum">
              <a:rPr lang="en-US" sz="833" smtClean="0"/>
              <a:pPr/>
              <a:t>‹#›</a:t>
            </a:fld>
            <a:endParaRPr lang="en-US" sz="833"/>
          </a:p>
        </p:txBody>
      </p:sp>
    </p:spTree>
    <p:extLst>
      <p:ext uri="{BB962C8B-B14F-4D97-AF65-F5344CB8AC3E}">
        <p14:creationId xmlns:p14="http://schemas.microsoft.com/office/powerpoint/2010/main" val="4127955227"/>
      </p:ext>
    </p:extLst>
  </p:cSld>
  <p:clrMapOvr>
    <a:masterClrMapping/>
  </p:clrMapOvr>
  <p:transition>
    <p:fade/>
  </p:transition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672000"/>
            <a:ext cx="12192000" cy="60624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239397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ine title,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1928" y="1713179"/>
            <a:ext cx="10984706" cy="4169410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659774A-71E5-F941-B6C9-6ABEBC3C73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4100065758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5"/>
          <p:cNvSpPr>
            <a:spLocks noChangeArrowheads="1"/>
          </p:cNvSpPr>
          <p:nvPr userDrawn="1"/>
        </p:nvSpPr>
        <p:spPr bwMode="auto">
          <a:xfrm>
            <a:off x="0" y="301"/>
            <a:ext cx="12192000" cy="23856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 sz="2400"/>
          </a:p>
        </p:txBody>
      </p:sp>
      <p:sp>
        <p:nvSpPr>
          <p:cNvPr id="374788" name="Line 4"/>
          <p:cNvSpPr>
            <a:spLocks noChangeShapeType="1"/>
          </p:cNvSpPr>
          <p:nvPr/>
        </p:nvSpPr>
        <p:spPr bwMode="auto">
          <a:xfrm>
            <a:off x="478367" y="4584000"/>
            <a:ext cx="7198784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2400"/>
          </a:p>
        </p:txBody>
      </p:sp>
      <p:sp>
        <p:nvSpPr>
          <p:cNvPr id="374791" name="Line 7"/>
          <p:cNvSpPr>
            <a:spLocks noChangeShapeType="1"/>
          </p:cNvSpPr>
          <p:nvPr/>
        </p:nvSpPr>
        <p:spPr bwMode="auto">
          <a:xfrm>
            <a:off x="0" y="2386013"/>
            <a:ext cx="12192000" cy="0"/>
          </a:xfrm>
          <a:prstGeom prst="line">
            <a:avLst/>
          </a:prstGeom>
          <a:noFill/>
          <a:ln w="317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2400"/>
          </a:p>
        </p:txBody>
      </p:sp>
      <p:sp>
        <p:nvSpPr>
          <p:cNvPr id="374800" name="Line 16"/>
          <p:cNvSpPr>
            <a:spLocks noChangeShapeType="1"/>
          </p:cNvSpPr>
          <p:nvPr/>
        </p:nvSpPr>
        <p:spPr bwMode="auto">
          <a:xfrm>
            <a:off x="0" y="6732589"/>
            <a:ext cx="12192000" cy="1587"/>
          </a:xfrm>
          <a:prstGeom prst="line">
            <a:avLst/>
          </a:prstGeom>
          <a:noFill/>
          <a:ln w="317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2400"/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auto">
          <a:xfrm>
            <a:off x="0" y="6734400"/>
            <a:ext cx="12192000" cy="1248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 sz="240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5349215"/>
            <a:ext cx="7198784" cy="288032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467"/>
            </a:lvl1pPr>
          </a:lstStyle>
          <a:p>
            <a:r>
              <a:rPr lang="en-GB" altLang="en-US" kern="0"/>
              <a:t>Event title [optional]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12B63D-6FD9-AF46-870B-CAEC5D1AA08F}"/>
              </a:ext>
            </a:extLst>
          </p:cNvPr>
          <p:cNvSpPr txBox="1"/>
          <p:nvPr userDrawn="1"/>
        </p:nvSpPr>
        <p:spPr>
          <a:xfrm>
            <a:off x="3985102" y="722990"/>
            <a:ext cx="74630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5400" b="1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ordination</a:t>
            </a:r>
            <a:r>
              <a:rPr lang="en-NL" sz="5400">
                <a:solidFill>
                  <a:schemeClr val="bg1"/>
                </a:solidFill>
              </a:rPr>
              <a:t> </a:t>
            </a:r>
            <a:r>
              <a:rPr lang="en-NL" sz="5400" b="1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entre</a:t>
            </a:r>
          </a:p>
        </p:txBody>
      </p:sp>
      <p:sp>
        <p:nvSpPr>
          <p:cNvPr id="18" name="Rectangle 2">
            <a:extLst>
              <a:ext uri="{FF2B5EF4-FFF2-40B4-BE49-F238E27FC236}">
                <a16:creationId xmlns:a16="http://schemas.microsoft.com/office/drawing/2014/main" id="{D006F15E-B4FC-FD4F-B887-74CD437B10C1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8366" y="3429000"/>
            <a:ext cx="7198783" cy="936000"/>
          </a:xfrm>
        </p:spPr>
        <p:txBody>
          <a:bodyPr anchor="b"/>
          <a:lstStyle>
            <a:lvl1pPr>
              <a:lnSpc>
                <a:spcPts val="2100"/>
              </a:lnSpc>
              <a:defRPr sz="1900"/>
            </a:lvl1pPr>
          </a:lstStyle>
          <a:p>
            <a:pPr lvl="0"/>
            <a:r>
              <a:rPr lang="en-GB" altLang="en-US" noProof="0"/>
              <a:t>Click to add title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4B5EC38A-F54A-5D4F-ADE3-1F0ED7FA4100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8366" y="4816087"/>
            <a:ext cx="7198782" cy="39390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marR="0" indent="0" algn="l" defTabSz="8072438" rtl="0" eaLnBrk="1" fontAlgn="base" latinLnBrk="0" hangingPunct="1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 sz="1050"/>
            </a:lvl1pPr>
          </a:lstStyle>
          <a:p>
            <a:pPr marL="0" marR="0" lvl="0" indent="0" algn="l" defTabSz="8072438" rtl="0" eaLnBrk="1" fontAlgn="base" latinLnBrk="0" hangingPunct="1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 altLang="en-US" noProof="0"/>
              <a:t>Click to add autho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379F251-64C9-C844-B908-E77AF091FD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4726" y="464577"/>
            <a:ext cx="3136939" cy="1441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311231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 b="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8368" y="2159001"/>
            <a:ext cx="5491200" cy="3959225"/>
          </a:xfrm>
        </p:spPr>
        <p:txBody>
          <a:bodyPr/>
          <a:lstStyle>
            <a:lvl1pPr marL="0" marR="0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marL="0" marR="0" lvl="0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/>
              <a:t>Click to edit Master text styles</a:t>
            </a:r>
          </a:p>
          <a:p>
            <a:pPr marL="0" marR="0" lvl="1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/>
              <a:t>Second level</a:t>
            </a:r>
          </a:p>
          <a:p>
            <a:pPr marL="0" marR="0" lvl="2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/>
              <a:t>Third level</a:t>
            </a:r>
          </a:p>
          <a:p>
            <a:pPr marL="0" marR="0" lvl="3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/>
              <a:t>Fourth level</a:t>
            </a:r>
          </a:p>
          <a:p>
            <a:pPr marL="0" marR="0" lvl="4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/>
              <a:t>Introduction of the DARWIN EU® Coordination Centr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E1512B7-A4D3-45D6-AC99-9D6C4D21B5B0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368657E0-A561-4170-A411-BD648CDEE8B0}" type="datetime4">
              <a:rPr lang="en-US" altLang="en-US" smtClean="0"/>
              <a:t>July 6, 2025</a:t>
            </a:fld>
            <a:endParaRPr lang="en-GB" alt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6216000" y="2159001"/>
            <a:ext cx="5491200" cy="3959225"/>
          </a:xfrm>
        </p:spPr>
        <p:txBody>
          <a:bodyPr/>
          <a:lstStyle>
            <a:lvl1pPr marL="0" marR="0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marL="0" marR="0" lvl="0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/>
              <a:t>Click to edit Master text styles</a:t>
            </a:r>
          </a:p>
          <a:p>
            <a:pPr marL="0" marR="0" lvl="1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/>
              <a:t>Second level</a:t>
            </a:r>
          </a:p>
          <a:p>
            <a:pPr marL="0" marR="0" lvl="2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/>
              <a:t>Third level</a:t>
            </a:r>
          </a:p>
          <a:p>
            <a:pPr marL="0" marR="0" lvl="3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/>
              <a:t>Fourth level</a:t>
            </a:r>
          </a:p>
          <a:p>
            <a:pPr marL="0" marR="0" lvl="4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/>
              <a:t>Fif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FF4CC3B-301A-3442-BA3E-4FC6EC4393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73657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altLang="en-US"/>
              <a:t>Introduction of the DARWIN EU® Coordination Cent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468437-DC6C-443C-8387-7F3DABA73C17}" type="slidenum">
              <a:rPr lang="en-GB" altLang="en-US" smtClean="0"/>
              <a:pPr/>
              <a:t>‹#›</a:t>
            </a:fld>
            <a:endParaRPr lang="en-GB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81FF660-18EC-48B1-9C21-41271AED578D}" type="datetime4">
              <a:rPr lang="en-US" altLang="en-US" smtClean="0"/>
              <a:t>July 6, 2025</a:t>
            </a:fld>
            <a:endParaRPr lang="en-GB" altLang="en-US"/>
          </a:p>
        </p:txBody>
      </p:sp>
      <p:sp>
        <p:nvSpPr>
          <p:cNvPr id="6" name="Line 2"/>
          <p:cNvSpPr>
            <a:spLocks noChangeShapeType="1"/>
          </p:cNvSpPr>
          <p:nvPr userDrawn="1"/>
        </p:nvSpPr>
        <p:spPr bwMode="auto">
          <a:xfrm>
            <a:off x="478367" y="3778251"/>
            <a:ext cx="8160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240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2661380"/>
            <a:ext cx="8160000" cy="1007531"/>
          </a:xfrm>
        </p:spPr>
        <p:txBody>
          <a:bodyPr anchor="b" anchorCtr="0"/>
          <a:lstStyle>
            <a:lvl1pPr>
              <a:lnSpc>
                <a:spcPts val="3200"/>
              </a:lnSpc>
              <a:spcAft>
                <a:spcPts val="0"/>
              </a:spcAft>
              <a:defRPr sz="2800" b="0">
                <a:solidFill>
                  <a:srgbClr val="003399"/>
                </a:solidFill>
              </a:defRPr>
            </a:lvl1pPr>
          </a:lstStyle>
          <a:p>
            <a:pPr lvl="0"/>
            <a:r>
              <a:rPr lang="en-US"/>
              <a:t>Section titl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80484" y="3909054"/>
            <a:ext cx="8159749" cy="230336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Section subtitle or brief intro tex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0C733E6-8EF0-DA46-A45D-47180BF0F0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31095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FE915A8-3115-FB4D-AB00-D5972D6FD9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3AAC4C9B-5EDF-E04C-895F-E5EF455017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698398-E57F-48A9-B422-5464D4C103DB}" type="datetime4">
              <a:rPr lang="en-US" altLang="en-US" smtClean="0"/>
              <a:t>July 6, 2025</a:t>
            </a:fld>
            <a:endParaRPr lang="en-GB" alt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B2D78615-58DB-774E-96A8-AEF5504E8F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4332" y="6424039"/>
            <a:ext cx="8638116" cy="292100"/>
          </a:xfrm>
        </p:spPr>
        <p:txBody>
          <a:bodyPr/>
          <a:lstStyle/>
          <a:p>
            <a:r>
              <a:rPr lang="en-GB" altLang="en-US"/>
              <a:t>Introduction of the DARWIN EU® Coordination Centre 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D97840BC-3B6B-8D4E-ABC6-E773A96B2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68437-DC6C-443C-8387-7F3DABA73C17}" type="slidenum">
              <a:rPr lang="en-GB" altLang="en-US" smtClean="0"/>
              <a:pPr/>
              <a:t>‹#›</a:t>
            </a:fld>
            <a:endParaRPr lang="en-GB" alt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7A67949F-326B-3D45-9AD6-F692D580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6068683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rmal content_title_in_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9816" y="1021081"/>
            <a:ext cx="11232000" cy="39592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FE915A8-3115-FB4D-AB00-D5972D6FD9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3AAC4C9B-5EDF-E04C-895F-E5EF455017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F6517D-AE58-47D8-BA32-D455A9FC3778}" type="datetime4">
              <a:rPr lang="en-US" altLang="en-US" smtClean="0"/>
              <a:t>July 6, 2025</a:t>
            </a:fld>
            <a:endParaRPr lang="en-GB" alt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B2D78615-58DB-774E-96A8-AEF5504E8F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4332" y="6424039"/>
            <a:ext cx="8638116" cy="292100"/>
          </a:xfrm>
        </p:spPr>
        <p:txBody>
          <a:bodyPr/>
          <a:lstStyle/>
          <a:p>
            <a:r>
              <a:rPr lang="en-GB" altLang="en-US"/>
              <a:t>Introduction of the DARWIN EU® Coordination Centre 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D97840BC-3B6B-8D4E-ABC6-E773A96B2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468437-DC6C-443C-8387-7F3DABA73C17}" type="slidenum">
              <a:rPr lang="en-GB" altLang="en-US" smtClean="0"/>
              <a:pPr/>
              <a:t>‹#›</a:t>
            </a:fld>
            <a:endParaRPr lang="en-GB" alt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7A67949F-326B-3D45-9AD6-F692D580B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268" y="141861"/>
            <a:ext cx="11232000" cy="9509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03808891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u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8368" y="2159001"/>
            <a:ext cx="5491200" cy="395922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6652" y="2159001"/>
            <a:ext cx="5490633" cy="395922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/>
              <a:t>Introduction of the DARWIN EU® Coordination Centr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E1512B7-A4D3-45D6-AC99-9D6C4D21B5B0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87A8B23C-AFE4-4D9C-8771-EA7A572ED215}" type="datetime4">
              <a:rPr lang="en-US" altLang="en-US" smtClean="0"/>
              <a:t>July 6, 2025</a:t>
            </a:fld>
            <a:endParaRPr lang="en-GB" alt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5F9591E-A173-C449-8B9B-825F2FF8DA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15979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/>
              <a:t>Introduction of the DARWIN EU® Coordination Cent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4A0FAAC-E39B-4479-B08E-E201E90F7F69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5367CBDD-590A-4647-A22B-48C6992875C9}" type="datetime4">
              <a:rPr lang="en-US" altLang="en-US" smtClean="0"/>
              <a:t>July 6, 2025</a:t>
            </a:fld>
            <a:endParaRPr lang="en-GB" alt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57570CA-035C-5E4D-A191-274C042411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28141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_in_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816" y="160337"/>
            <a:ext cx="11232000" cy="9509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/>
              <a:t>Introduction of the DARWIN EU® Coordination Cent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4A0FAAC-E39B-4479-B08E-E201E90F7F69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96C65027-CF90-47AC-8649-9A664F32A5CA}" type="datetime4">
              <a:rPr lang="en-US" altLang="en-US" smtClean="0"/>
              <a:t>July 6, 2025</a:t>
            </a:fld>
            <a:endParaRPr lang="en-GB" alt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57570CA-035C-5E4D-A191-274C042411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00682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672000"/>
            <a:ext cx="12192000" cy="60624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C7C25A-B884-5848-9386-2597D99ADC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3077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80864" y="3269377"/>
            <a:ext cx="5327360" cy="532736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92425843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F1FB793-33ED-0544-8FE9-0B2A557F78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6757" y="57945"/>
            <a:ext cx="11430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55245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829734" y="6318251"/>
            <a:ext cx="7636933" cy="3651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Introduction of the DARWIN EU® Coordination Centre </a:t>
            </a:r>
            <a:endParaRPr lang="en-IN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09600" y="1088136"/>
            <a:ext cx="10972800" cy="4996750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>
            <a:lvl1pPr indent="-210312" algn="l" defTabSz="41029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def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  <a:lvl2pPr indent="-210312" algn="l" defTabSz="41029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def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2pPr>
            <a:lvl3pPr indent="-210312" algn="l" defTabSz="41029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def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3pPr>
            <a:lvl4pPr indent="-210312" algn="l" defTabSz="41029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def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4pPr>
            <a:lvl5pPr indent="-210312" algn="l" defTabSz="41029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defRPr kumimoji="0" lang="en-I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3198318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0E8B4C-8D45-8EC7-7768-A4AE235142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98852"/>
            <a:ext cx="9878786" cy="887690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F88548-5599-11E3-424F-2A3056DD2D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44388"/>
            <a:ext cx="10515600" cy="4477178"/>
          </a:xfrm>
        </p:spPr>
        <p:txBody>
          <a:bodyPr/>
          <a:lstStyle>
            <a:lvl1pPr>
              <a:defRPr>
                <a:latin typeface="LM Roman 10" panose="00000500000000000000" pitchFamily="50" charset="0"/>
              </a:defRPr>
            </a:lvl1pPr>
            <a:lvl2pPr>
              <a:defRPr>
                <a:latin typeface="LM Roman 10" panose="00000500000000000000" pitchFamily="50" charset="0"/>
              </a:defRPr>
            </a:lvl2pPr>
            <a:lvl3pPr>
              <a:defRPr>
                <a:latin typeface="LM Roman 10" panose="00000500000000000000" pitchFamily="50" charset="0"/>
              </a:defRPr>
            </a:lvl3pPr>
            <a:lvl4pPr>
              <a:defRPr>
                <a:latin typeface="LM Roman 10" panose="00000500000000000000" pitchFamily="50" charset="0"/>
              </a:defRPr>
            </a:lvl4pPr>
            <a:lvl5pPr>
              <a:defRPr>
                <a:latin typeface="LM Roman 10" panose="00000500000000000000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DFF16F-C725-F779-035A-6273C8FF6F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734E87-4C1B-4511-8B83-88B18C72C861}" type="datetime1">
              <a:rPr lang="en-GB" smtClean="0"/>
              <a:t>06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BA8F6D-FC81-81A1-A259-EB8477CFCE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A8E36D-5D57-A2DA-F0C9-1DB429775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B6E93-1846-4B17-A68F-4674358D495A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11EE97C-7425-0892-4849-746D3E221309}"/>
              </a:ext>
            </a:extLst>
          </p:cNvPr>
          <p:cNvCxnSpPr>
            <a:cxnSpLocks/>
          </p:cNvCxnSpPr>
          <p:nvPr userDrawn="1"/>
        </p:nvCxnSpPr>
        <p:spPr>
          <a:xfrm>
            <a:off x="0" y="1176792"/>
            <a:ext cx="12192000" cy="0"/>
          </a:xfrm>
          <a:prstGeom prst="line">
            <a:avLst/>
          </a:prstGeom>
          <a:ln w="28575">
            <a:solidFill>
              <a:srgbClr val="FF660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45A90D5F-12F6-C9A9-6D61-A5857DC479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781" t="29500" r="7531" b="38000"/>
          <a:stretch/>
        </p:blipFill>
        <p:spPr>
          <a:xfrm>
            <a:off x="0" y="6009028"/>
            <a:ext cx="2979424" cy="842011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919914C-89C5-54B8-9FCC-9816917AC2F1}"/>
              </a:ext>
            </a:extLst>
          </p:cNvPr>
          <p:cNvCxnSpPr>
            <a:cxnSpLocks/>
          </p:cNvCxnSpPr>
          <p:nvPr userDrawn="1"/>
        </p:nvCxnSpPr>
        <p:spPr>
          <a:xfrm>
            <a:off x="0" y="5918777"/>
            <a:ext cx="12192000" cy="0"/>
          </a:xfrm>
          <a:prstGeom prst="line">
            <a:avLst/>
          </a:prstGeom>
          <a:ln w="28575">
            <a:solidFill>
              <a:srgbClr val="FF660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050" name="Picture 2" descr="Data Analysis and Real World Interrogation Network (DARWIN EU) | European  Medicines Agency">
            <a:extLst>
              <a:ext uri="{FF2B5EF4-FFF2-40B4-BE49-F238E27FC236}">
                <a16:creationId xmlns:a16="http://schemas.microsoft.com/office/drawing/2014/main" id="{588BAFC2-2D50-0E83-74E3-E30E9A6C521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0102" y="6015989"/>
            <a:ext cx="2051796" cy="842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9974B753-1968-C00B-D31E-9A40CBF104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9601" y="45966"/>
            <a:ext cx="963421" cy="1109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996451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96182C29-7571-4E93-9EB1-0E07877783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028" r="50000" b="19912"/>
          <a:stretch/>
        </p:blipFill>
        <p:spPr>
          <a:xfrm>
            <a:off x="7897010" y="-1"/>
            <a:ext cx="4294991" cy="6858001"/>
          </a:xfrm>
          <a:prstGeom prst="rect">
            <a:avLst/>
          </a:prstGeom>
        </p:spPr>
      </p:pic>
      <p:sp>
        <p:nvSpPr>
          <p:cNvPr id="4" name="Rechthoek 3">
            <a:extLst>
              <a:ext uri="{FF2B5EF4-FFF2-40B4-BE49-F238E27FC236}">
                <a16:creationId xmlns:a16="http://schemas.microsoft.com/office/drawing/2014/main" id="{988D9C52-D870-4582-92BF-1B415B7ACC3F}"/>
              </a:ext>
            </a:extLst>
          </p:cNvPr>
          <p:cNvSpPr/>
          <p:nvPr userDrawn="1"/>
        </p:nvSpPr>
        <p:spPr>
          <a:xfrm>
            <a:off x="7897009" y="0"/>
            <a:ext cx="4294991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3000" b="1"/>
          </a:p>
        </p:txBody>
      </p:sp>
      <p:pic>
        <p:nvPicPr>
          <p:cNvPr id="5" name="Afbeelding 4" descr="Afbeelding met object&#10;&#10;Beschrijving is gegenereerd met hoge betrouwbaarheid">
            <a:extLst>
              <a:ext uri="{FF2B5EF4-FFF2-40B4-BE49-F238E27FC236}">
                <a16:creationId xmlns:a16="http://schemas.microsoft.com/office/drawing/2014/main" id="{813E6A8F-15F5-4D67-9ABF-BFAD226C69D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100" y="931454"/>
            <a:ext cx="5574803" cy="1463043"/>
          </a:xfrm>
          <a:prstGeom prst="rect">
            <a:avLst/>
          </a:prstGeom>
        </p:spPr>
      </p:pic>
      <p:grpSp>
        <p:nvGrpSpPr>
          <p:cNvPr id="6" name="Groep 5">
            <a:extLst>
              <a:ext uri="{FF2B5EF4-FFF2-40B4-BE49-F238E27FC236}">
                <a16:creationId xmlns:a16="http://schemas.microsoft.com/office/drawing/2014/main" id="{FFCE0CCC-3289-40A5-961D-93C4C29B9ABF}"/>
              </a:ext>
            </a:extLst>
          </p:cNvPr>
          <p:cNvGrpSpPr/>
          <p:nvPr userDrawn="1"/>
        </p:nvGrpSpPr>
        <p:grpSpPr>
          <a:xfrm>
            <a:off x="2906201" y="6172692"/>
            <a:ext cx="1782600" cy="354937"/>
            <a:chOff x="8426207" y="1234430"/>
            <a:chExt cx="2323293" cy="462595"/>
          </a:xfrm>
        </p:grpSpPr>
        <p:pic>
          <p:nvPicPr>
            <p:cNvPr id="7" name="Afbeelding 6">
              <a:extLst>
                <a:ext uri="{FF2B5EF4-FFF2-40B4-BE49-F238E27FC236}">
                  <a16:creationId xmlns:a16="http://schemas.microsoft.com/office/drawing/2014/main" id="{5E8BA66C-1BA2-437C-BAD6-29FD8C75C7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426207" y="1337023"/>
              <a:ext cx="601328" cy="360000"/>
            </a:xfrm>
            <a:prstGeom prst="rect">
              <a:avLst/>
            </a:prstGeom>
          </p:spPr>
        </p:pic>
        <p:pic>
          <p:nvPicPr>
            <p:cNvPr id="8" name="Afbeelding 7">
              <a:extLst>
                <a:ext uri="{FF2B5EF4-FFF2-40B4-BE49-F238E27FC236}">
                  <a16:creationId xmlns:a16="http://schemas.microsoft.com/office/drawing/2014/main" id="{5889B687-EE5C-4325-8094-3157FAADD2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131896" y="1234430"/>
              <a:ext cx="895535" cy="462595"/>
            </a:xfrm>
            <a:prstGeom prst="rect">
              <a:avLst/>
            </a:prstGeom>
          </p:spPr>
        </p:pic>
        <p:pic>
          <p:nvPicPr>
            <p:cNvPr id="9" name="Afbeelding 8">
              <a:extLst>
                <a:ext uri="{FF2B5EF4-FFF2-40B4-BE49-F238E27FC236}">
                  <a16:creationId xmlns:a16="http://schemas.microsoft.com/office/drawing/2014/main" id="{EC3F2682-22A2-4631-8680-10AB5176A7F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38362" y="1337023"/>
              <a:ext cx="611138" cy="360000"/>
            </a:xfrm>
            <a:prstGeom prst="rect">
              <a:avLst/>
            </a:prstGeom>
          </p:spPr>
        </p:pic>
      </p:grp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18B9E465-19E2-4FA6-B7F9-FE3BE27A11D0}"/>
              </a:ext>
            </a:extLst>
          </p:cNvPr>
          <p:cNvCxnSpPr>
            <a:cxnSpLocks/>
          </p:cNvCxnSpPr>
          <p:nvPr userDrawn="1"/>
        </p:nvCxnSpPr>
        <p:spPr>
          <a:xfrm>
            <a:off x="1556769" y="4164594"/>
            <a:ext cx="448146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C9A31869-8CA8-4D79-8796-16CE8826B3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1176" y="3463504"/>
            <a:ext cx="7052650" cy="565568"/>
          </a:xfrm>
          <a:prstGeom prst="rect">
            <a:avLst/>
          </a:prstGeom>
        </p:spPr>
        <p:txBody>
          <a:bodyPr>
            <a:normAutofit/>
          </a:bodyPr>
          <a:lstStyle>
            <a:lvl1pPr marL="131395" indent="0" algn="ctr">
              <a:buNone/>
              <a:defRPr lang="en-GB" sz="2800" b="1" kern="1200" dirty="0">
                <a:solidFill>
                  <a:srgbClr val="EA9E0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/>
              <a:t>“</a:t>
            </a:r>
            <a:r>
              <a:rPr lang="nl-NL" err="1"/>
              <a:t>Your</a:t>
            </a:r>
            <a:r>
              <a:rPr lang="nl-NL"/>
              <a:t> </a:t>
            </a:r>
            <a:r>
              <a:rPr lang="nl-NL" err="1"/>
              <a:t>title</a:t>
            </a:r>
            <a:r>
              <a:rPr lang="nl-NL"/>
              <a:t> </a:t>
            </a:r>
            <a:r>
              <a:rPr lang="nl-NL" err="1"/>
              <a:t>goes</a:t>
            </a:r>
            <a:r>
              <a:rPr lang="nl-NL"/>
              <a:t> here”</a:t>
            </a:r>
            <a:endParaRPr lang="en-GB"/>
          </a:p>
        </p:txBody>
      </p:sp>
      <p:sp>
        <p:nvSpPr>
          <p:cNvPr id="19" name="Tijdelijke aanduiding voor tekst 18">
            <a:extLst>
              <a:ext uri="{FF2B5EF4-FFF2-40B4-BE49-F238E27FC236}">
                <a16:creationId xmlns:a16="http://schemas.microsoft.com/office/drawing/2014/main" id="{3E6005B2-411D-4DB4-AC85-B5A5AF11E8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1178" y="4308908"/>
            <a:ext cx="7052649" cy="357427"/>
          </a:xfrm>
          <a:prstGeom prst="rect">
            <a:avLst/>
          </a:prstGeom>
        </p:spPr>
        <p:txBody>
          <a:bodyPr/>
          <a:lstStyle>
            <a:lvl1pPr marL="131395" indent="0" algn="ctr">
              <a:buNone/>
              <a:defRPr sz="2000" b="1"/>
            </a:lvl1pPr>
          </a:lstStyle>
          <a:p>
            <a:pPr lvl="0"/>
            <a:r>
              <a:rPr lang="nl-NL"/>
              <a:t>Author Name</a:t>
            </a:r>
            <a:endParaRPr lang="en-GB"/>
          </a:p>
        </p:txBody>
      </p:sp>
      <p:sp>
        <p:nvSpPr>
          <p:cNvPr id="20" name="Tijdelijke aanduiding voor tekst 18">
            <a:extLst>
              <a:ext uri="{FF2B5EF4-FFF2-40B4-BE49-F238E27FC236}">
                <a16:creationId xmlns:a16="http://schemas.microsoft.com/office/drawing/2014/main" id="{D8881F42-455B-4933-A258-FB965091DBD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1178" y="4779862"/>
            <a:ext cx="7052649" cy="930831"/>
          </a:xfrm>
          <a:prstGeom prst="rect">
            <a:avLst/>
          </a:prstGeom>
        </p:spPr>
        <p:txBody>
          <a:bodyPr/>
          <a:lstStyle>
            <a:lvl1pPr marL="131395" indent="0" algn="ctr">
              <a:spcBef>
                <a:spcPts val="0"/>
              </a:spcBef>
              <a:buNone/>
              <a:defRPr sz="1600" b="1">
                <a:solidFill>
                  <a:srgbClr val="A6A6A6"/>
                </a:solidFill>
              </a:defRPr>
            </a:lvl1pPr>
          </a:lstStyle>
          <a:p>
            <a:pPr lvl="0"/>
            <a:r>
              <a:rPr lang="nl-NL"/>
              <a:t>Author </a:t>
            </a:r>
            <a:r>
              <a:rPr lang="nl-NL" err="1"/>
              <a:t>affiliations</a:t>
            </a:r>
            <a:endParaRPr lang="nl-NL"/>
          </a:p>
          <a:p>
            <a:pPr lvl="0"/>
            <a:r>
              <a:rPr lang="nl-NL"/>
              <a:t>EHDEN </a:t>
            </a:r>
            <a:r>
              <a:rPr lang="nl-NL" err="1"/>
              <a:t>ro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625526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H_v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DE96FDD9-C5C7-426E-9856-498E9A1CA9AF}"/>
              </a:ext>
            </a:extLst>
          </p:cNvPr>
          <p:cNvSpPr/>
          <p:nvPr userDrawn="1"/>
        </p:nvSpPr>
        <p:spPr>
          <a:xfrm>
            <a:off x="0" y="0"/>
            <a:ext cx="12192000" cy="3959990"/>
          </a:xfrm>
          <a:prstGeom prst="rect">
            <a:avLst/>
          </a:prstGeom>
          <a:solidFill>
            <a:srgbClr val="4146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3000"/>
          </a:p>
        </p:txBody>
      </p:sp>
      <p:cxnSp>
        <p:nvCxnSpPr>
          <p:cNvPr id="15" name="Rechte verbindingslijn 14">
            <a:extLst>
              <a:ext uri="{FF2B5EF4-FFF2-40B4-BE49-F238E27FC236}">
                <a16:creationId xmlns:a16="http://schemas.microsoft.com/office/drawing/2014/main" id="{2DD33859-C2F1-4742-A77D-4D8CE2C6E887}"/>
              </a:ext>
            </a:extLst>
          </p:cNvPr>
          <p:cNvCxnSpPr/>
          <p:nvPr userDrawn="1"/>
        </p:nvCxnSpPr>
        <p:spPr>
          <a:xfrm>
            <a:off x="3797060" y="2257864"/>
            <a:ext cx="459788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jdelijke aanduiding voor tekst 16">
            <a:extLst>
              <a:ext uri="{FF2B5EF4-FFF2-40B4-BE49-F238E27FC236}">
                <a16:creationId xmlns:a16="http://schemas.microsoft.com/office/drawing/2014/main" id="{7894850E-A737-42A0-8B7D-27377F7BD4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199071"/>
            <a:ext cx="121840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ctr">
              <a:buNone/>
              <a:defRPr lang="nl-NL" sz="4000" b="1" smtClean="0">
                <a:solidFill>
                  <a:srgbClr val="EEA41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28591" indent="0">
              <a:buNone/>
              <a:defRPr lang="nl-NL" sz="1800" smtClean="0"/>
            </a:lvl2pPr>
            <a:lvl3pPr>
              <a:defRPr lang="nl-NL" sz="1800" smtClean="0"/>
            </a:lvl3pPr>
            <a:lvl4pPr>
              <a:defRPr lang="nl-NL" smtClean="0"/>
            </a:lvl4pPr>
            <a:lvl5pPr>
              <a:defRPr lang="nl-BE"/>
            </a:lvl5pPr>
          </a:lstStyle>
          <a:p>
            <a:pPr marL="0" lvl="0" algn="ctr"/>
            <a:r>
              <a:rPr lang="nl-NL" err="1"/>
              <a:t>Chapter</a:t>
            </a:r>
            <a:r>
              <a:rPr lang="nl-NL"/>
              <a:t> </a:t>
            </a:r>
            <a:r>
              <a:rPr lang="nl-NL" err="1"/>
              <a:t>Title</a:t>
            </a:r>
            <a:endParaRPr lang="nl-NL"/>
          </a:p>
        </p:txBody>
      </p:sp>
      <p:sp>
        <p:nvSpPr>
          <p:cNvPr id="20" name="Tijdelijke aanduiding voor tekst 16">
            <a:extLst>
              <a:ext uri="{FF2B5EF4-FFF2-40B4-BE49-F238E27FC236}">
                <a16:creationId xmlns:a16="http://schemas.microsoft.com/office/drawing/2014/main" id="{2C04DEF2-30CC-427F-A231-2F7A4F0744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446" y="2730491"/>
            <a:ext cx="12184063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ctr">
              <a:buNone/>
              <a:defRPr lang="nl-NL" sz="2800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algn="ctr"/>
            <a:r>
              <a:rPr lang="nl-NL" err="1"/>
              <a:t>Subtitle</a:t>
            </a:r>
            <a:endParaRPr lang="nl-NL"/>
          </a:p>
        </p:txBody>
      </p:sp>
      <p:grpSp>
        <p:nvGrpSpPr>
          <p:cNvPr id="21" name="Groep 20">
            <a:extLst>
              <a:ext uri="{FF2B5EF4-FFF2-40B4-BE49-F238E27FC236}">
                <a16:creationId xmlns:a16="http://schemas.microsoft.com/office/drawing/2014/main" id="{7373DDD2-23BB-4008-8138-740AFC153093}"/>
              </a:ext>
            </a:extLst>
          </p:cNvPr>
          <p:cNvGrpSpPr/>
          <p:nvPr userDrawn="1"/>
        </p:nvGrpSpPr>
        <p:grpSpPr>
          <a:xfrm>
            <a:off x="10940811" y="6569424"/>
            <a:ext cx="1182425" cy="235435"/>
            <a:chOff x="8426207" y="1234430"/>
            <a:chExt cx="2323293" cy="462595"/>
          </a:xfrm>
        </p:grpSpPr>
        <p:pic>
          <p:nvPicPr>
            <p:cNvPr id="22" name="Afbeelding 21">
              <a:extLst>
                <a:ext uri="{FF2B5EF4-FFF2-40B4-BE49-F238E27FC236}">
                  <a16:creationId xmlns:a16="http://schemas.microsoft.com/office/drawing/2014/main" id="{E5A29A06-B202-4D4A-9B2C-C5D354A965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48371"/>
            <a:stretch/>
          </p:blipFill>
          <p:spPr>
            <a:xfrm>
              <a:off x="8426207" y="1337023"/>
              <a:ext cx="601328" cy="360000"/>
            </a:xfrm>
            <a:prstGeom prst="rect">
              <a:avLst/>
            </a:prstGeom>
          </p:spPr>
        </p:pic>
        <p:pic>
          <p:nvPicPr>
            <p:cNvPr id="23" name="Afbeelding 22">
              <a:extLst>
                <a:ext uri="{FF2B5EF4-FFF2-40B4-BE49-F238E27FC236}">
                  <a16:creationId xmlns:a16="http://schemas.microsoft.com/office/drawing/2014/main" id="{98A16502-4002-4DA2-92F0-AD7CE07CB20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131896" y="1234430"/>
              <a:ext cx="895535" cy="462595"/>
            </a:xfrm>
            <a:prstGeom prst="rect">
              <a:avLst/>
            </a:prstGeom>
          </p:spPr>
        </p:pic>
        <p:pic>
          <p:nvPicPr>
            <p:cNvPr id="24" name="Afbeelding 23">
              <a:extLst>
                <a:ext uri="{FF2B5EF4-FFF2-40B4-BE49-F238E27FC236}">
                  <a16:creationId xmlns:a16="http://schemas.microsoft.com/office/drawing/2014/main" id="{A8BCA005-DDEA-4329-A30E-624C00EDCBF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38362" y="1337023"/>
              <a:ext cx="611138" cy="360000"/>
            </a:xfrm>
            <a:prstGeom prst="rect">
              <a:avLst/>
            </a:prstGeom>
          </p:spPr>
        </p:pic>
      </p:grpSp>
      <p:sp>
        <p:nvSpPr>
          <p:cNvPr id="25" name="Tijdelijke aanduiding voor tekst 2">
            <a:extLst>
              <a:ext uri="{FF2B5EF4-FFF2-40B4-BE49-F238E27FC236}">
                <a16:creationId xmlns:a16="http://schemas.microsoft.com/office/drawing/2014/main" id="{742D2771-0E15-425F-9CA4-EFC7FC9A995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23679" y="4398111"/>
            <a:ext cx="7135812" cy="2045824"/>
          </a:xfrm>
          <a:prstGeom prst="rect">
            <a:avLst/>
          </a:prstGeom>
        </p:spPr>
        <p:txBody>
          <a:bodyPr>
            <a:normAutofit/>
          </a:bodyPr>
          <a:lstStyle>
            <a:lvl1pPr marL="131395" indent="0" algn="ctr">
              <a:buNone/>
              <a:defRPr sz="2000" b="0">
                <a:solidFill>
                  <a:srgbClr val="56B1C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nl-BE"/>
              <a:t>Topic 1</a:t>
            </a:r>
          </a:p>
          <a:p>
            <a:pPr lvl="0"/>
            <a:r>
              <a:rPr lang="nl-BE"/>
              <a:t>Topic 2</a:t>
            </a:r>
          </a:p>
          <a:p>
            <a:pPr lvl="0"/>
            <a:r>
              <a:rPr lang="nl-BE"/>
              <a:t>Topic 3</a:t>
            </a:r>
          </a:p>
          <a:p>
            <a:pPr lvl="0"/>
            <a:r>
              <a:rPr lang="nl-BE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73059906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V_v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ep 3">
            <a:extLst>
              <a:ext uri="{FF2B5EF4-FFF2-40B4-BE49-F238E27FC236}">
                <a16:creationId xmlns:a16="http://schemas.microsoft.com/office/drawing/2014/main" id="{FACECBB4-C8F1-429D-9F4B-AD3CB13BD2C2}"/>
              </a:ext>
            </a:extLst>
          </p:cNvPr>
          <p:cNvGrpSpPr/>
          <p:nvPr userDrawn="1"/>
        </p:nvGrpSpPr>
        <p:grpSpPr>
          <a:xfrm>
            <a:off x="10940811" y="6569424"/>
            <a:ext cx="1182425" cy="235435"/>
            <a:chOff x="8426207" y="1234430"/>
            <a:chExt cx="2323293" cy="462595"/>
          </a:xfrm>
        </p:grpSpPr>
        <p:pic>
          <p:nvPicPr>
            <p:cNvPr id="5" name="Afbeelding 4">
              <a:extLst>
                <a:ext uri="{FF2B5EF4-FFF2-40B4-BE49-F238E27FC236}">
                  <a16:creationId xmlns:a16="http://schemas.microsoft.com/office/drawing/2014/main" id="{CFFC6803-4372-44AA-AB41-ABE4430F93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48371"/>
            <a:stretch/>
          </p:blipFill>
          <p:spPr>
            <a:xfrm>
              <a:off x="8426207" y="1337023"/>
              <a:ext cx="601328" cy="360000"/>
            </a:xfrm>
            <a:prstGeom prst="rect">
              <a:avLst/>
            </a:prstGeom>
          </p:spPr>
        </p:pic>
        <p:pic>
          <p:nvPicPr>
            <p:cNvPr id="6" name="Afbeelding 5">
              <a:extLst>
                <a:ext uri="{FF2B5EF4-FFF2-40B4-BE49-F238E27FC236}">
                  <a16:creationId xmlns:a16="http://schemas.microsoft.com/office/drawing/2014/main" id="{365A08A6-0B74-4E29-8AE2-3FE7E15245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131896" y="1234430"/>
              <a:ext cx="895535" cy="462595"/>
            </a:xfrm>
            <a:prstGeom prst="rect">
              <a:avLst/>
            </a:prstGeom>
          </p:spPr>
        </p:pic>
        <p:pic>
          <p:nvPicPr>
            <p:cNvPr id="7" name="Afbeelding 6">
              <a:extLst>
                <a:ext uri="{FF2B5EF4-FFF2-40B4-BE49-F238E27FC236}">
                  <a16:creationId xmlns:a16="http://schemas.microsoft.com/office/drawing/2014/main" id="{B917837F-E126-4FEE-AA00-F50006915A0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38362" y="1337023"/>
              <a:ext cx="611138" cy="360000"/>
            </a:xfrm>
            <a:prstGeom prst="rect">
              <a:avLst/>
            </a:prstGeom>
          </p:spPr>
        </p:pic>
      </p:grpSp>
      <p:sp>
        <p:nvSpPr>
          <p:cNvPr id="15" name="Titel 3">
            <a:extLst>
              <a:ext uri="{FF2B5EF4-FFF2-40B4-BE49-F238E27FC236}">
                <a16:creationId xmlns:a16="http://schemas.microsoft.com/office/drawing/2014/main" id="{99EBEBB3-5D37-494E-BB8B-4D56E5E97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3928" y="1322655"/>
            <a:ext cx="7135483" cy="1325563"/>
          </a:xfrm>
          <a:prstGeom prst="rect">
            <a:avLst/>
          </a:prstGeom>
        </p:spPr>
        <p:txBody>
          <a:bodyPr/>
          <a:lstStyle>
            <a:lvl1pPr algn="ctr">
              <a:defRPr sz="3600" b="1">
                <a:solidFill>
                  <a:srgbClr val="EEA41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nl-BE" err="1"/>
              <a:t>Chapter</a:t>
            </a:r>
            <a:r>
              <a:rPr lang="nl-BE"/>
              <a:t> </a:t>
            </a:r>
            <a:r>
              <a:rPr lang="nl-BE" err="1"/>
              <a:t>title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3E6A9880-966A-40B7-81F2-C7E8FAD3EB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3238" y="3122763"/>
            <a:ext cx="7135812" cy="2412851"/>
          </a:xfrm>
          <a:prstGeom prst="rect">
            <a:avLst/>
          </a:prstGeom>
        </p:spPr>
        <p:txBody>
          <a:bodyPr>
            <a:normAutofit/>
          </a:bodyPr>
          <a:lstStyle>
            <a:lvl1pPr marL="131395" indent="0" algn="ctr">
              <a:buNone/>
              <a:defRPr sz="2000" b="0">
                <a:solidFill>
                  <a:srgbClr val="56B1C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nl-BE"/>
              <a:t>Topic 1</a:t>
            </a:r>
          </a:p>
          <a:p>
            <a:pPr lvl="0"/>
            <a:r>
              <a:rPr lang="nl-BE"/>
              <a:t>Topic 2</a:t>
            </a:r>
          </a:p>
          <a:p>
            <a:pPr lvl="0"/>
            <a:r>
              <a:rPr lang="nl-BE"/>
              <a:t>Topic 3</a:t>
            </a:r>
          </a:p>
          <a:p>
            <a:pPr lvl="0"/>
            <a:r>
              <a:rPr lang="nl-BE"/>
              <a:t>…</a:t>
            </a:r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99EC82D2-1465-49FA-880E-8C336985045D}"/>
              </a:ext>
            </a:extLst>
          </p:cNvPr>
          <p:cNvCxnSpPr/>
          <p:nvPr userDrawn="1"/>
        </p:nvCxnSpPr>
        <p:spPr>
          <a:xfrm>
            <a:off x="5750421" y="2872599"/>
            <a:ext cx="426144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hoek 15">
            <a:extLst>
              <a:ext uri="{FF2B5EF4-FFF2-40B4-BE49-F238E27FC236}">
                <a16:creationId xmlns:a16="http://schemas.microsoft.com/office/drawing/2014/main" id="{3EAC66E6-AC79-440B-9136-C3427703BC1F}"/>
              </a:ext>
            </a:extLst>
          </p:cNvPr>
          <p:cNvSpPr/>
          <p:nvPr userDrawn="1"/>
        </p:nvSpPr>
        <p:spPr>
          <a:xfrm>
            <a:off x="0" y="0"/>
            <a:ext cx="3571336" cy="6858000"/>
          </a:xfrm>
          <a:prstGeom prst="rect">
            <a:avLst/>
          </a:prstGeom>
          <a:solidFill>
            <a:srgbClr val="4146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3000"/>
          </a:p>
        </p:txBody>
      </p:sp>
    </p:spTree>
    <p:extLst>
      <p:ext uri="{BB962C8B-B14F-4D97-AF65-F5344CB8AC3E}">
        <p14:creationId xmlns:p14="http://schemas.microsoft.com/office/powerpoint/2010/main" val="236608573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v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1E5F33C6-ABBE-4553-8B31-7AB29F86BD94}"/>
              </a:ext>
            </a:extLst>
          </p:cNvPr>
          <p:cNvSpPr/>
          <p:nvPr userDrawn="1"/>
        </p:nvSpPr>
        <p:spPr>
          <a:xfrm>
            <a:off x="0" y="1"/>
            <a:ext cx="12192000" cy="632389"/>
          </a:xfrm>
          <a:prstGeom prst="rect">
            <a:avLst/>
          </a:prstGeom>
          <a:solidFill>
            <a:srgbClr val="383C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40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F93ABB5-02CD-45B8-89E2-A2025D5F9C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7859" b="12399"/>
          <a:stretch/>
        </p:blipFill>
        <p:spPr>
          <a:xfrm>
            <a:off x="11177144" y="5866647"/>
            <a:ext cx="1006474" cy="991354"/>
          </a:xfrm>
          <a:prstGeom prst="rect">
            <a:avLst/>
          </a:prstGeom>
        </p:spPr>
      </p:pic>
      <p:sp>
        <p:nvSpPr>
          <p:cNvPr id="8" name="Rechthoek 7">
            <a:extLst>
              <a:ext uri="{FF2B5EF4-FFF2-40B4-BE49-F238E27FC236}">
                <a16:creationId xmlns:a16="http://schemas.microsoft.com/office/drawing/2014/main" id="{B40700EE-D8A4-4085-9217-8DC0CE42E62D}"/>
              </a:ext>
            </a:extLst>
          </p:cNvPr>
          <p:cNvSpPr/>
          <p:nvPr userDrawn="1"/>
        </p:nvSpPr>
        <p:spPr>
          <a:xfrm>
            <a:off x="11177144" y="5866646"/>
            <a:ext cx="1006474" cy="991354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3000"/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id="{A99A2495-8F68-4AB9-B9E9-37261505F1BF}"/>
              </a:ext>
            </a:extLst>
          </p:cNvPr>
          <p:cNvGrpSpPr/>
          <p:nvPr userDrawn="1"/>
        </p:nvGrpSpPr>
        <p:grpSpPr>
          <a:xfrm>
            <a:off x="103341" y="6545612"/>
            <a:ext cx="1182425" cy="235435"/>
            <a:chOff x="8426207" y="1234430"/>
            <a:chExt cx="2323293" cy="462595"/>
          </a:xfrm>
        </p:grpSpPr>
        <p:pic>
          <p:nvPicPr>
            <p:cNvPr id="13" name="Afbeelding 12">
              <a:extLst>
                <a:ext uri="{FF2B5EF4-FFF2-40B4-BE49-F238E27FC236}">
                  <a16:creationId xmlns:a16="http://schemas.microsoft.com/office/drawing/2014/main" id="{F7512792-8657-4D9D-88DF-C8CF862CD8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48371"/>
            <a:stretch/>
          </p:blipFill>
          <p:spPr>
            <a:xfrm>
              <a:off x="8426207" y="1337023"/>
              <a:ext cx="601328" cy="360000"/>
            </a:xfrm>
            <a:prstGeom prst="rect">
              <a:avLst/>
            </a:prstGeom>
          </p:spPr>
        </p:pic>
        <p:pic>
          <p:nvPicPr>
            <p:cNvPr id="14" name="Afbeelding 13">
              <a:extLst>
                <a:ext uri="{FF2B5EF4-FFF2-40B4-BE49-F238E27FC236}">
                  <a16:creationId xmlns:a16="http://schemas.microsoft.com/office/drawing/2014/main" id="{38CE231D-97B7-46D6-A9FF-EFCD0886F7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131896" y="1234430"/>
              <a:ext cx="895535" cy="462595"/>
            </a:xfrm>
            <a:prstGeom prst="rect">
              <a:avLst/>
            </a:prstGeom>
          </p:spPr>
        </p:pic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id="{BEC5797E-6C70-414D-91BE-B0EDF4E5601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38362" y="1337023"/>
              <a:ext cx="611138" cy="360000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487BD0D8-3CA7-4C8D-8A26-1752BFB06B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871" y="42451"/>
            <a:ext cx="11901595" cy="466510"/>
          </a:xfrm>
          <a:prstGeom prst="rect">
            <a:avLst/>
          </a:prstGeom>
        </p:spPr>
        <p:txBody>
          <a:bodyPr/>
          <a:lstStyle>
            <a:lvl1pPr>
              <a:defRPr sz="3600" b="1" cap="small" baseline="0">
                <a:solidFill>
                  <a:srgbClr val="FFC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err="1"/>
              <a:t>Add</a:t>
            </a:r>
            <a:r>
              <a:rPr lang="nl-NL"/>
              <a:t> </a:t>
            </a:r>
            <a:r>
              <a:rPr lang="nl-NL" err="1"/>
              <a:t>your</a:t>
            </a:r>
            <a:r>
              <a:rPr lang="nl-NL"/>
              <a:t> </a:t>
            </a:r>
            <a:r>
              <a:rPr lang="nl-NL" err="1"/>
              <a:t>title</a:t>
            </a:r>
            <a:endParaRPr lang="nl-BE"/>
          </a:p>
        </p:txBody>
      </p:sp>
      <p:sp>
        <p:nvSpPr>
          <p:cNvPr id="16" name="Tijdelijke aanduiding voor dianummer 5">
            <a:extLst>
              <a:ext uri="{FF2B5EF4-FFF2-40B4-BE49-F238E27FC236}">
                <a16:creationId xmlns:a16="http://schemas.microsoft.com/office/drawing/2014/main" id="{AB3FB249-97A8-44D3-8324-B122B19FF3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9921" y="284258"/>
            <a:ext cx="757687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CC159E5-E11E-4234-B430-04E778A81C64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230A8BB4-B96E-4E7B-83D7-48C0CA6F10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2234" y="1115411"/>
            <a:ext cx="10927533" cy="49979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nl-NL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nl-NL" dirty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lang="nl-NL" dirty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lang="nl-NL" dirty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lang="nl-BE" dirty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marL="359986" lvl="0">
              <a:buClr>
                <a:srgbClr val="40387C"/>
              </a:buClr>
              <a:buSzPct val="80000"/>
              <a:buFont typeface="Century Gothic" panose="020B0502020202020204" pitchFamily="34" charset="0"/>
              <a:buChar char="■"/>
            </a:pPr>
            <a:r>
              <a:rPr lang="nl-NL"/>
              <a:t>Tekststijl van het model bewerken</a:t>
            </a:r>
          </a:p>
          <a:p>
            <a:pPr marL="719971" lvl="1">
              <a:buClr>
                <a:srgbClr val="EEA41F"/>
              </a:buClr>
              <a:buSzPct val="80000"/>
              <a:buFont typeface="Century Gothic" panose="020B0502020202020204" pitchFamily="34" charset="0"/>
              <a:buChar char="■"/>
            </a:pPr>
            <a:r>
              <a:rPr lang="nl-NL"/>
              <a:t>Tweede niveau</a:t>
            </a:r>
          </a:p>
          <a:p>
            <a:pPr marL="1079957" lvl="2">
              <a:buClr>
                <a:srgbClr val="92327C"/>
              </a:buClr>
              <a:buSzPct val="80000"/>
              <a:buFont typeface="Century Gothic" panose="020B0502020202020204" pitchFamily="34" charset="0"/>
              <a:buChar char="■"/>
            </a:pPr>
            <a:r>
              <a:rPr lang="nl-NL"/>
              <a:t>Derde niveau</a:t>
            </a:r>
          </a:p>
          <a:p>
            <a:pPr marL="1439942" lvl="3">
              <a:buClr>
                <a:srgbClr val="56B1CA"/>
              </a:buClr>
              <a:buSzPct val="80000"/>
              <a:buFont typeface="Century Gothic" panose="020B0502020202020204" pitchFamily="34" charset="0"/>
              <a:buChar char="■"/>
            </a:pPr>
            <a:r>
              <a:rPr lang="nl-NL"/>
              <a:t>Vierde niveau</a:t>
            </a:r>
          </a:p>
          <a:p>
            <a:pPr marL="1799928" lvl="4">
              <a:buClr>
                <a:srgbClr val="E91D25"/>
              </a:buClr>
              <a:buSzPct val="80000"/>
              <a:buFont typeface="Century Gothic" panose="020B0502020202020204" pitchFamily="34" charset="0"/>
              <a:buChar char="■"/>
            </a:pPr>
            <a:r>
              <a:rPr lang="nl-NL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2690072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3">
            <a:extLst>
              <a:ext uri="{FF2B5EF4-FFF2-40B4-BE49-F238E27FC236}">
                <a16:creationId xmlns:a16="http://schemas.microsoft.com/office/drawing/2014/main" id="{CF82147A-F310-4F08-A322-4712DFB05CAC}"/>
              </a:ext>
            </a:extLst>
          </p:cNvPr>
          <p:cNvSpPr txBox="1"/>
          <p:nvPr userDrawn="1"/>
        </p:nvSpPr>
        <p:spPr>
          <a:xfrm>
            <a:off x="11660905" y="6535546"/>
            <a:ext cx="3962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0D62B9C-1313-6240-B3A9-12C8D3C5854C}" type="slidenum">
              <a:rPr lang="en-US" sz="1400" smtClean="0"/>
              <a:t>‹#›</a:t>
            </a:fld>
            <a:endParaRPr lang="en-US" sz="1400"/>
          </a:p>
        </p:txBody>
      </p:sp>
      <p:sp>
        <p:nvSpPr>
          <p:cNvPr id="18" name="Rechthoek 9">
            <a:extLst>
              <a:ext uri="{FF2B5EF4-FFF2-40B4-BE49-F238E27FC236}">
                <a16:creationId xmlns:a16="http://schemas.microsoft.com/office/drawing/2014/main" id="{FDCB7EAC-6124-4EAA-8359-CBA1FC66C05F}"/>
              </a:ext>
            </a:extLst>
          </p:cNvPr>
          <p:cNvSpPr/>
          <p:nvPr userDrawn="1"/>
        </p:nvSpPr>
        <p:spPr>
          <a:xfrm>
            <a:off x="1" y="1"/>
            <a:ext cx="12191999" cy="65913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BE" sz="2400"/>
          </a:p>
        </p:txBody>
      </p:sp>
      <p:sp>
        <p:nvSpPr>
          <p:cNvPr id="19" name="Ovaal 18">
            <a:extLst>
              <a:ext uri="{FF2B5EF4-FFF2-40B4-BE49-F238E27FC236}">
                <a16:creationId xmlns:a16="http://schemas.microsoft.com/office/drawing/2014/main" id="{3F60A0B3-33D5-4C1D-916A-291659662A56}"/>
              </a:ext>
            </a:extLst>
          </p:cNvPr>
          <p:cNvSpPr/>
          <p:nvPr userDrawn="1"/>
        </p:nvSpPr>
        <p:spPr>
          <a:xfrm>
            <a:off x="98370" y="76954"/>
            <a:ext cx="509144" cy="50672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000"/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04CED64B-379A-440B-8CEC-EA945584F1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3048" y="0"/>
            <a:ext cx="11408952" cy="659130"/>
          </a:xfrm>
          <a:prstGeom prst="rect">
            <a:avLst/>
          </a:prstGeom>
        </p:spPr>
        <p:txBody>
          <a:bodyPr anchor="ctr"/>
          <a:lstStyle>
            <a:lvl1pPr>
              <a:defRPr sz="3600" b="1" cap="small" baseline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1E980F08-4AEA-477F-852F-33E1F7E8C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-773" t="-304" r="191" b="-1528"/>
          <a:stretch/>
        </p:blipFill>
        <p:spPr>
          <a:xfrm>
            <a:off x="81986" y="76955"/>
            <a:ext cx="619076" cy="63815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9BF97975-AE76-4BF3-A59A-B7425F8376C7}"/>
              </a:ext>
            </a:extLst>
          </p:cNvPr>
          <p:cNvGrpSpPr/>
          <p:nvPr userDrawn="1"/>
        </p:nvGrpSpPr>
        <p:grpSpPr>
          <a:xfrm>
            <a:off x="14111" y="6440340"/>
            <a:ext cx="1279638" cy="498183"/>
            <a:chOff x="14111" y="6440340"/>
            <a:chExt cx="1279638" cy="498183"/>
          </a:xfrm>
        </p:grpSpPr>
        <p:pic>
          <p:nvPicPr>
            <p:cNvPr id="17" name="Picture 16" descr="A close up of a logo&#10;&#10;Description automatically generated">
              <a:extLst>
                <a:ext uri="{FF2B5EF4-FFF2-40B4-BE49-F238E27FC236}">
                  <a16:creationId xmlns:a16="http://schemas.microsoft.com/office/drawing/2014/main" id="{85ECE48E-98B2-416A-AB8B-B0B2D79B71C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111" y="6440340"/>
              <a:ext cx="498183" cy="498183"/>
            </a:xfrm>
            <a:prstGeom prst="rect">
              <a:avLst/>
            </a:prstGeom>
          </p:spPr>
        </p:pic>
        <p:pic>
          <p:nvPicPr>
            <p:cNvPr id="22" name="Picture 21" descr="A picture containing vector graphics&#10;&#10;Description automatically generated">
              <a:extLst>
                <a:ext uri="{FF2B5EF4-FFF2-40B4-BE49-F238E27FC236}">
                  <a16:creationId xmlns:a16="http://schemas.microsoft.com/office/drawing/2014/main" id="{B359738A-602A-4418-AAAE-607945E49A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6457" y="6480785"/>
              <a:ext cx="417292" cy="417292"/>
            </a:xfrm>
            <a:prstGeom prst="rect">
              <a:avLst/>
            </a:prstGeom>
          </p:spPr>
        </p:pic>
        <p:pic>
          <p:nvPicPr>
            <p:cNvPr id="23" name="Picture 22" descr="A close up of a logo&#10;&#10;Description automatically generated">
              <a:extLst>
                <a:ext uri="{FF2B5EF4-FFF2-40B4-BE49-F238E27FC236}">
                  <a16:creationId xmlns:a16="http://schemas.microsoft.com/office/drawing/2014/main" id="{8D5420E1-3342-4052-B2E1-D6157D87123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2294" y="6507351"/>
              <a:ext cx="364163" cy="3641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4206304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Afbeelding 16" descr="Afbeelding met foto, wit, zwart, tekst&#10;&#10;Beschrijving is gegenereerd met zeer hoge betrouwbaarheid">
            <a:extLst>
              <a:ext uri="{FF2B5EF4-FFF2-40B4-BE49-F238E27FC236}">
                <a16:creationId xmlns:a16="http://schemas.microsoft.com/office/drawing/2014/main" id="{6D9DC6C7-3037-4A6D-B4D3-3907EB2290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2660"/>
            <a:ext cx="12192001" cy="629729"/>
          </a:xfrm>
          <a:prstGeom prst="rect">
            <a:avLst/>
          </a:prstGeom>
        </p:spPr>
      </p:pic>
      <p:sp>
        <p:nvSpPr>
          <p:cNvPr id="19" name="Rechthoek 18">
            <a:extLst>
              <a:ext uri="{FF2B5EF4-FFF2-40B4-BE49-F238E27FC236}">
                <a16:creationId xmlns:a16="http://schemas.microsoft.com/office/drawing/2014/main" id="{DCCE6B29-7204-4687-8894-4A347CA83140}"/>
              </a:ext>
            </a:extLst>
          </p:cNvPr>
          <p:cNvSpPr/>
          <p:nvPr userDrawn="1"/>
        </p:nvSpPr>
        <p:spPr>
          <a:xfrm>
            <a:off x="1" y="-2661"/>
            <a:ext cx="12192001" cy="632390"/>
          </a:xfrm>
          <a:prstGeom prst="rect">
            <a:avLst/>
          </a:prstGeom>
          <a:solidFill>
            <a:srgbClr val="383C45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BE" sz="30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87BD0D8-3CA7-4C8D-8A26-1752BFB06B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871" y="42451"/>
            <a:ext cx="11901595" cy="466510"/>
          </a:xfrm>
          <a:prstGeom prst="rect">
            <a:avLst/>
          </a:prstGeom>
        </p:spPr>
        <p:txBody>
          <a:bodyPr/>
          <a:lstStyle>
            <a:lvl1pPr>
              <a:defRPr sz="3600" b="1" cap="small" baseline="0">
                <a:solidFill>
                  <a:srgbClr val="FFC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err="1"/>
              <a:t>Add</a:t>
            </a:r>
            <a:r>
              <a:rPr lang="nl-NL"/>
              <a:t> </a:t>
            </a:r>
            <a:r>
              <a:rPr lang="nl-NL" err="1"/>
              <a:t>your</a:t>
            </a:r>
            <a:r>
              <a:rPr lang="nl-NL"/>
              <a:t> </a:t>
            </a:r>
            <a:r>
              <a:rPr lang="nl-NL" err="1"/>
              <a:t>title</a:t>
            </a:r>
            <a:endParaRPr lang="nl-BE"/>
          </a:p>
        </p:txBody>
      </p:sp>
      <p:sp>
        <p:nvSpPr>
          <p:cNvPr id="16" name="Tijdelijke aanduiding voor dianummer 5">
            <a:extLst>
              <a:ext uri="{FF2B5EF4-FFF2-40B4-BE49-F238E27FC236}">
                <a16:creationId xmlns:a16="http://schemas.microsoft.com/office/drawing/2014/main" id="{AB3FB249-97A8-44D3-8324-B122B19FF3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9921" y="284258"/>
            <a:ext cx="757687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CC159E5-E11E-4234-B430-04E778A81C64}" type="slidenum">
              <a:rPr lang="nl-BE" smtClean="0"/>
              <a:pPr/>
              <a:t>‹#›</a:t>
            </a:fld>
            <a:endParaRPr lang="nl-BE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F93ABB5-02CD-45B8-89E2-A2025D5F9C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7859" b="12399"/>
          <a:stretch/>
        </p:blipFill>
        <p:spPr>
          <a:xfrm>
            <a:off x="11177144" y="5866647"/>
            <a:ext cx="1006474" cy="991354"/>
          </a:xfrm>
          <a:prstGeom prst="rect">
            <a:avLst/>
          </a:prstGeom>
        </p:spPr>
      </p:pic>
      <p:sp>
        <p:nvSpPr>
          <p:cNvPr id="8" name="Rechthoek 7">
            <a:extLst>
              <a:ext uri="{FF2B5EF4-FFF2-40B4-BE49-F238E27FC236}">
                <a16:creationId xmlns:a16="http://schemas.microsoft.com/office/drawing/2014/main" id="{B40700EE-D8A4-4085-9217-8DC0CE42E62D}"/>
              </a:ext>
            </a:extLst>
          </p:cNvPr>
          <p:cNvSpPr/>
          <p:nvPr userDrawn="1"/>
        </p:nvSpPr>
        <p:spPr>
          <a:xfrm>
            <a:off x="11177144" y="5866646"/>
            <a:ext cx="1006474" cy="991354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3000"/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id="{A99A2495-8F68-4AB9-B9E9-37261505F1BF}"/>
              </a:ext>
            </a:extLst>
          </p:cNvPr>
          <p:cNvGrpSpPr/>
          <p:nvPr userDrawn="1"/>
        </p:nvGrpSpPr>
        <p:grpSpPr>
          <a:xfrm>
            <a:off x="103341" y="6545612"/>
            <a:ext cx="1182425" cy="235435"/>
            <a:chOff x="8426207" y="1234430"/>
            <a:chExt cx="2323293" cy="462595"/>
          </a:xfrm>
        </p:grpSpPr>
        <p:pic>
          <p:nvPicPr>
            <p:cNvPr id="13" name="Afbeelding 12">
              <a:extLst>
                <a:ext uri="{FF2B5EF4-FFF2-40B4-BE49-F238E27FC236}">
                  <a16:creationId xmlns:a16="http://schemas.microsoft.com/office/drawing/2014/main" id="{F7512792-8657-4D9D-88DF-C8CF862CD8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48371"/>
            <a:stretch/>
          </p:blipFill>
          <p:spPr>
            <a:xfrm>
              <a:off x="8426207" y="1337023"/>
              <a:ext cx="601328" cy="360000"/>
            </a:xfrm>
            <a:prstGeom prst="rect">
              <a:avLst/>
            </a:prstGeom>
          </p:spPr>
        </p:pic>
        <p:pic>
          <p:nvPicPr>
            <p:cNvPr id="14" name="Afbeelding 13">
              <a:extLst>
                <a:ext uri="{FF2B5EF4-FFF2-40B4-BE49-F238E27FC236}">
                  <a16:creationId xmlns:a16="http://schemas.microsoft.com/office/drawing/2014/main" id="{38CE231D-97B7-46D6-A9FF-EFCD0886F7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131896" y="1234430"/>
              <a:ext cx="895535" cy="462595"/>
            </a:xfrm>
            <a:prstGeom prst="rect">
              <a:avLst/>
            </a:prstGeom>
          </p:spPr>
        </p:pic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id="{BEC5797E-6C70-414D-91BE-B0EDF4E5601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38362" y="1337023"/>
              <a:ext cx="611138" cy="360000"/>
            </a:xfrm>
            <a:prstGeom prst="rect">
              <a:avLst/>
            </a:prstGeom>
          </p:spPr>
        </p:pic>
      </p:grp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230A8BB4-B96E-4E7B-83D7-48C0CA6F10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2234" y="1115411"/>
            <a:ext cx="10927533" cy="49979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nl-NL" sz="2400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nl-NL" sz="2000" dirty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lang="nl-NL" sz="1800" dirty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lang="nl-NL" sz="1600" dirty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lang="nl-BE" sz="1600" dirty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marL="359986" lvl="0">
              <a:buClr>
                <a:srgbClr val="40387C"/>
              </a:buClr>
              <a:buSzPct val="80000"/>
              <a:buFont typeface="Century Gothic" panose="020B0502020202020204" pitchFamily="34" charset="0"/>
              <a:buChar char="■"/>
            </a:pPr>
            <a:r>
              <a:rPr lang="nl-NL"/>
              <a:t>Tekststijl van het model bewerken</a:t>
            </a:r>
          </a:p>
          <a:p>
            <a:pPr marL="719971" lvl="1">
              <a:buClr>
                <a:srgbClr val="EEA41F"/>
              </a:buClr>
              <a:buSzPct val="80000"/>
              <a:buFont typeface="Century Gothic" panose="020B0502020202020204" pitchFamily="34" charset="0"/>
              <a:buChar char="■"/>
            </a:pPr>
            <a:r>
              <a:rPr lang="nl-NL"/>
              <a:t>Tweede niveau</a:t>
            </a:r>
          </a:p>
          <a:p>
            <a:pPr marL="1079957" lvl="2">
              <a:buClr>
                <a:srgbClr val="92327C"/>
              </a:buClr>
              <a:buSzPct val="80000"/>
              <a:buFont typeface="Century Gothic" panose="020B0502020202020204" pitchFamily="34" charset="0"/>
              <a:buChar char="■"/>
            </a:pPr>
            <a:r>
              <a:rPr lang="nl-NL"/>
              <a:t>Derde niveau</a:t>
            </a:r>
          </a:p>
          <a:p>
            <a:pPr marL="1439942" lvl="3">
              <a:buClr>
                <a:srgbClr val="56B1CA"/>
              </a:buClr>
              <a:buSzPct val="80000"/>
              <a:buFont typeface="Century Gothic" panose="020B0502020202020204" pitchFamily="34" charset="0"/>
              <a:buChar char="■"/>
            </a:pPr>
            <a:r>
              <a:rPr lang="nl-NL"/>
              <a:t>Vierde niveau</a:t>
            </a:r>
          </a:p>
          <a:p>
            <a:pPr marL="1799928" lvl="4">
              <a:buClr>
                <a:srgbClr val="E91D25"/>
              </a:buClr>
              <a:buSzPct val="80000"/>
              <a:buFont typeface="Century Gothic" panose="020B0502020202020204" pitchFamily="34" charset="0"/>
              <a:buChar char="■"/>
            </a:pPr>
            <a:r>
              <a:rPr lang="nl-NL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0588350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hoek 9">
            <a:extLst>
              <a:ext uri="{FF2B5EF4-FFF2-40B4-BE49-F238E27FC236}">
                <a16:creationId xmlns:a16="http://schemas.microsoft.com/office/drawing/2014/main" id="{F95C1061-64D9-4E4A-BEB2-349B77D196FC}"/>
              </a:ext>
            </a:extLst>
          </p:cNvPr>
          <p:cNvSpPr/>
          <p:nvPr userDrawn="1"/>
        </p:nvSpPr>
        <p:spPr>
          <a:xfrm>
            <a:off x="1" y="1"/>
            <a:ext cx="12191999" cy="65913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BE" sz="2400"/>
          </a:p>
        </p:txBody>
      </p:sp>
      <p:sp>
        <p:nvSpPr>
          <p:cNvPr id="5" name="Ovaal 4">
            <a:extLst>
              <a:ext uri="{FF2B5EF4-FFF2-40B4-BE49-F238E27FC236}">
                <a16:creationId xmlns:a16="http://schemas.microsoft.com/office/drawing/2014/main" id="{17B80726-3DF2-482C-991A-97D6D9E8430F}"/>
              </a:ext>
            </a:extLst>
          </p:cNvPr>
          <p:cNvSpPr/>
          <p:nvPr userDrawn="1"/>
        </p:nvSpPr>
        <p:spPr>
          <a:xfrm>
            <a:off x="98370" y="76954"/>
            <a:ext cx="509144" cy="50672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0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87BD0D8-3CA7-4C8D-8A26-1752BFB06B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3048" y="0"/>
            <a:ext cx="11408952" cy="659130"/>
          </a:xfrm>
          <a:prstGeom prst="rect">
            <a:avLst/>
          </a:prstGeom>
        </p:spPr>
        <p:txBody>
          <a:bodyPr anchor="ctr"/>
          <a:lstStyle>
            <a:lvl1pPr>
              <a:defRPr sz="3600" b="1" cap="small" baseline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DDE84CCC-EC47-47B4-B343-C0178342DADE}"/>
              </a:ext>
            </a:extLst>
          </p:cNvPr>
          <p:cNvGrpSpPr/>
          <p:nvPr userDrawn="1"/>
        </p:nvGrpSpPr>
        <p:grpSpPr>
          <a:xfrm>
            <a:off x="103341" y="6578938"/>
            <a:ext cx="1182425" cy="220995"/>
            <a:chOff x="103340" y="6578937"/>
            <a:chExt cx="1182425" cy="220995"/>
          </a:xfrm>
        </p:grpSpPr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A99A2495-8F68-4AB9-B9E9-37261505F1BF}"/>
                </a:ext>
              </a:extLst>
            </p:cNvPr>
            <p:cNvGrpSpPr/>
            <p:nvPr userDrawn="1"/>
          </p:nvGrpSpPr>
          <p:grpSpPr>
            <a:xfrm>
              <a:off x="103340" y="6597826"/>
              <a:ext cx="1182425" cy="183220"/>
              <a:chOff x="8426207" y="1337023"/>
              <a:chExt cx="2323293" cy="360000"/>
            </a:xfrm>
          </p:grpSpPr>
          <p:pic>
            <p:nvPicPr>
              <p:cNvPr id="13" name="Afbeelding 12">
                <a:extLst>
                  <a:ext uri="{FF2B5EF4-FFF2-40B4-BE49-F238E27FC236}">
                    <a16:creationId xmlns:a16="http://schemas.microsoft.com/office/drawing/2014/main" id="{F7512792-8657-4D9D-88DF-C8CF862CD82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8426207" y="1337023"/>
                <a:ext cx="601328" cy="360000"/>
              </a:xfrm>
              <a:prstGeom prst="rect">
                <a:avLst/>
              </a:prstGeom>
            </p:spPr>
          </p:pic>
          <p:pic>
            <p:nvPicPr>
              <p:cNvPr id="15" name="Afbeelding 14">
                <a:extLst>
                  <a:ext uri="{FF2B5EF4-FFF2-40B4-BE49-F238E27FC236}">
                    <a16:creationId xmlns:a16="http://schemas.microsoft.com/office/drawing/2014/main" id="{BEC5797E-6C70-414D-91BE-B0EDF4E560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138362" y="1337023"/>
                <a:ext cx="611138" cy="360000"/>
              </a:xfrm>
              <a:prstGeom prst="rect">
                <a:avLst/>
              </a:prstGeom>
            </p:spPr>
          </p:pic>
        </p:grpSp>
        <p:pic>
          <p:nvPicPr>
            <p:cNvPr id="16" name="Afbeelding 15">
              <a:extLst>
                <a:ext uri="{FF2B5EF4-FFF2-40B4-BE49-F238E27FC236}">
                  <a16:creationId xmlns:a16="http://schemas.microsoft.com/office/drawing/2014/main" id="{39C84B01-8F88-4B7A-8F58-5B62FDB1A70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8615" b="19339"/>
            <a:stretch/>
          </p:blipFill>
          <p:spPr>
            <a:xfrm>
              <a:off x="512294" y="6578937"/>
              <a:ext cx="356179" cy="220995"/>
            </a:xfrm>
            <a:prstGeom prst="rect">
              <a:avLst/>
            </a:prstGeom>
          </p:spPr>
        </p:pic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996D8D11-F353-1644-9F6F-2F0BE03ECA94}"/>
              </a:ext>
            </a:extLst>
          </p:cNvPr>
          <p:cNvSpPr txBox="1"/>
          <p:nvPr userDrawn="1"/>
        </p:nvSpPr>
        <p:spPr>
          <a:xfrm>
            <a:off x="11660905" y="6535546"/>
            <a:ext cx="3962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0D62B9C-1313-6240-B3A9-12C8D3C5854C}" type="slidenum">
              <a:rPr lang="en-US" sz="1400" smtClean="0"/>
              <a:t>‹#›</a:t>
            </a:fld>
            <a:endParaRPr lang="en-US" sz="140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51968962-4102-1841-BBEE-88E05FE72C2F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34801" y="1137273"/>
            <a:ext cx="11180936" cy="49069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193D2251-DA7C-4B35-BF44-219C7C8CCD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-773" t="-304" r="191" b="-1528"/>
          <a:stretch/>
        </p:blipFill>
        <p:spPr>
          <a:xfrm>
            <a:off x="81986" y="76955"/>
            <a:ext cx="619076" cy="638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2308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with watermark - E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D1B40891-172B-4BAB-9038-899FE898A8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08789" y="2852936"/>
            <a:ext cx="5327652" cy="5325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15">
            <a:extLst>
              <a:ext uri="{FF2B5EF4-FFF2-40B4-BE49-F238E27FC236}">
                <a16:creationId xmlns:a16="http://schemas.microsoft.com/office/drawing/2014/main" id="{AFB13AC6-CFE2-4A67-9BFB-994E79FC2D1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1835"/>
            <a:ext cx="12192000" cy="144000"/>
          </a:xfrm>
          <a:prstGeom prst="rect">
            <a:avLst/>
          </a:prstGeom>
          <a:gradFill flip="none" rotWithShape="1">
            <a:gsLst>
              <a:gs pos="78000">
                <a:srgbClr val="AC145A"/>
              </a:gs>
              <a:gs pos="17000">
                <a:srgbClr val="003399">
                  <a:shade val="100000"/>
                  <a:satMod val="115000"/>
                </a:srgbClr>
              </a:gs>
            </a:gsLst>
            <a:lin ang="2700000" scaled="0"/>
            <a:tileRect/>
          </a:gradFill>
          <a:ln>
            <a:noFill/>
          </a:ln>
          <a:effectLst/>
        </p:spPr>
        <p:txBody>
          <a:bodyPr wrap="none" lIns="0" tIns="0" rIns="0" bIns="0" anchor="ctr"/>
          <a:lstStyle>
            <a:lvl1pPr algn="ctr">
              <a:lnSpc>
                <a:spcPct val="120000"/>
              </a:lnSpc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 algn="ctr">
              <a:lnSpc>
                <a:spcPct val="120000"/>
              </a:lnSpc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 algn="ctr">
              <a:lnSpc>
                <a:spcPct val="120000"/>
              </a:lnSpc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 algn="ctr">
              <a:lnSpc>
                <a:spcPct val="120000"/>
              </a:lnSpc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 algn="ctr">
              <a:lnSpc>
                <a:spcPct val="120000"/>
              </a:lnSpc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US" altLang="en-US" sz="2133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0540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3FBC5-A31E-489A-A301-088222C3D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264100-797D-4D66-A09A-63D067BDAB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6C24B6-B3F6-4B7A-AB28-7006BF0AF0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2E3C6A-DA39-4C9E-9F9F-D5E22AFF7FE3}" type="datetime1">
              <a:rPr lang="en-GB" smtClean="0"/>
              <a:t>06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4067E5-EB98-4051-A728-749F0DB6E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5F5A32-6669-40AE-AE07-0EA4C14B34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192BE-B614-41F4-95E8-8DC99FE9CA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638315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0382" y="152400"/>
            <a:ext cx="10332018" cy="838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6454776"/>
            <a:ext cx="12192000" cy="76200"/>
          </a:xfrm>
          <a:prstGeom prst="rect">
            <a:avLst/>
          </a:prstGeom>
          <a:gradFill>
            <a:gsLst>
              <a:gs pos="44000">
                <a:srgbClr val="20425A"/>
              </a:gs>
              <a:gs pos="100000">
                <a:srgbClr val="FCCB10"/>
              </a:gs>
              <a:gs pos="55000">
                <a:srgbClr val="EB662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47200" y="649287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20425A"/>
                </a:solidFill>
              </a:defRPr>
            </a:lvl1pPr>
          </a:lstStyle>
          <a:p>
            <a:fld id="{444583ED-F364-40B3-B25B-483B5033DFA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2" descr="C:\Users\pryan4\Downloads\want-impact-public-health-help-shape-journey-ahead\OHDSI logo only - colored.png">
            <a:extLst>
              <a:ext uri="{FF2B5EF4-FFF2-40B4-BE49-F238E27FC236}">
                <a16:creationId xmlns:a16="http://schemas.microsoft.com/office/drawing/2014/main" id="{8E27D786-324D-4E22-B525-044E22AFE8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1" y="-38160"/>
            <a:ext cx="1326583" cy="1257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428881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FDA575-D1CC-DC4A-5189-7A1E3424D8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C2F3FA0-5CD9-92A1-895A-87201F98B6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C4F17A-64DF-A781-23EE-261A6F3E08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A13DF-0BBC-4BC4-8EDB-FA719E4792F1}" type="datetimeFigureOut">
              <a:rPr lang="en-GB" smtClean="0"/>
              <a:t>06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E19A2F-7734-172A-5FD8-C5814F36E0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BC6095-3944-1E50-F5C2-D7A7FD5768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80B44-6CF8-4348-AB41-2741AC8E9B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635340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FDA575-D1CC-DC4A-5189-7A1E3424D8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C2F3FA0-5CD9-92A1-895A-87201F98B6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C4F17A-64DF-A781-23EE-261A6F3E08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A13DF-0BBC-4BC4-8EDB-FA719E4792F1}" type="datetimeFigureOut">
              <a:rPr lang="en-GB" smtClean="0"/>
              <a:t>06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E19A2F-7734-172A-5FD8-C5814F36E0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BC6095-3944-1E50-F5C2-D7A7FD5768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80B44-6CF8-4348-AB41-2741AC8E9B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300399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32FDC7-B6AD-FDDA-8052-A1C6C9189B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C68F2E-9B67-00BC-FBFF-7832A3CFBB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2D9BE6-8D94-2D2E-B6B8-02203A9475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A13DF-0BBC-4BC4-8EDB-FA719E4792F1}" type="datetimeFigureOut">
              <a:rPr lang="en-GB" smtClean="0"/>
              <a:t>06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8E033D-A10A-2FCF-3052-CE4EA3D753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24B311-FDDC-6517-82FD-4DE39A007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80B44-6CF8-4348-AB41-2741AC8E9B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542972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C00C4A-C13F-D866-8F60-22541D18D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ADC283-017F-009D-03B2-BC81E52AE3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BFDE55-37D6-6575-158F-FB4BD17A4F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A13DF-0BBC-4BC4-8EDB-FA719E4792F1}" type="datetimeFigureOut">
              <a:rPr lang="en-GB" smtClean="0"/>
              <a:t>06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DEF41F-3669-7ACE-F5C5-6C77FA311E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296FCF-6F83-16AC-6674-20BFD258DC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80B44-6CF8-4348-AB41-2741AC8E9B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94352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8F68E-0344-60D0-5A1D-931C7D8201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993F3B-922C-D963-CF23-88E7ACA2AA8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33CBB55-19B3-10C8-D172-A4E2C4DD23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9B7A8B8-474F-2009-7B9B-952ED29475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A13DF-0BBC-4BC4-8EDB-FA719E4792F1}" type="datetimeFigureOut">
              <a:rPr lang="en-GB" smtClean="0"/>
              <a:t>06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B9AB4E-04D4-B7C2-2717-B4BD62155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CB29FA-506D-5A11-5A3A-CB8DBF10EE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80B44-6CF8-4348-AB41-2741AC8E9B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717266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E296B6-7ADE-5E84-3540-ABE4911C04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725C9E-2C2F-EED1-D14B-AE0ECFB689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BE8177-8FDF-D913-6569-9F2B357518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67C06B8-62A1-A7D8-CB30-F175B68B90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527DD7F-3731-A1E3-0DDC-66B16D4094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B1063FB-BDF6-08CA-EEFD-711F602B08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A13DF-0BBC-4BC4-8EDB-FA719E4792F1}" type="datetimeFigureOut">
              <a:rPr lang="en-GB" smtClean="0"/>
              <a:t>06/07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FA411D4-E58B-4D9A-8991-FCFC13ED55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55807C-D926-764C-E35D-8103864E3B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80B44-6CF8-4348-AB41-2741AC8E9B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08261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6E8170-8E74-BE5F-C683-6A078A254A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70A4037-4B59-8209-00A5-B0A485D08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A13DF-0BBC-4BC4-8EDB-FA719E4792F1}" type="datetimeFigureOut">
              <a:rPr lang="en-GB" smtClean="0"/>
              <a:t>06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2983E2-1BB7-55CF-4534-EDE8FA58CC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81B10E-103D-DCA2-AE5F-553A061C60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80B44-6CF8-4348-AB41-2741AC8E9B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4667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44D4B3F-2B29-A441-D594-F5EF46933E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A13DF-0BBC-4BC4-8EDB-FA719E4792F1}" type="datetimeFigureOut">
              <a:rPr lang="en-GB" smtClean="0"/>
              <a:t>06/07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2640F1-4C8F-C724-9061-C3C025433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60AE4C-DDEF-125F-0372-85CDCB9C19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80B44-6CF8-4348-AB41-2741AC8E9B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93064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image" Target="../media/image10.png"/><Relationship Id="rId5" Type="http://schemas.openxmlformats.org/officeDocument/2006/relationships/slideLayout" Target="../slideLayouts/slideLayout36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image" Target="../media/image16.emf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theme" Target="../theme/theme5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76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8368" y="1025526"/>
            <a:ext cx="11232000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33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add title</a:t>
            </a:r>
          </a:p>
        </p:txBody>
      </p:sp>
      <p:sp>
        <p:nvSpPr>
          <p:cNvPr id="37376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58853" y="6405563"/>
            <a:ext cx="8638116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ts val="1600"/>
              </a:lnSpc>
              <a:defRPr sz="1107">
                <a:solidFill>
                  <a:schemeClr val="tx1"/>
                </a:solidFill>
              </a:defRPr>
            </a:lvl1pPr>
          </a:lstStyle>
          <a:p>
            <a:r>
              <a:rPr lang="en-GB" altLang="en-US"/>
              <a:t>Presentation title (to edit, click Insert &gt; Header &amp; Footer)</a:t>
            </a:r>
          </a:p>
        </p:txBody>
      </p:sp>
      <p:sp>
        <p:nvSpPr>
          <p:cNvPr id="37376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80486" y="6405563"/>
            <a:ext cx="410633" cy="239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ts val="1600"/>
              </a:lnSpc>
              <a:defRPr sz="1107">
                <a:solidFill>
                  <a:schemeClr val="tx1"/>
                </a:solidFill>
              </a:defRPr>
            </a:lvl1pPr>
          </a:lstStyle>
          <a:p>
            <a:fld id="{DB468437-DC6C-443C-8387-7F3DABA73C17}" type="slidenum">
              <a:rPr lang="en-GB" altLang="en-US" smtClean="0"/>
              <a:pPr/>
              <a:t>‹#›</a:t>
            </a:fld>
            <a:endParaRPr lang="en-GB" altLang="en-US"/>
          </a:p>
        </p:txBody>
      </p:sp>
      <p:sp>
        <p:nvSpPr>
          <p:cNvPr id="373768" name="Rectangle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792000" y="6405563"/>
            <a:ext cx="1919816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ts val="1600"/>
              </a:lnSpc>
              <a:defRPr sz="1107">
                <a:solidFill>
                  <a:schemeClr val="tx1"/>
                </a:solidFill>
              </a:defRPr>
            </a:lvl1pPr>
          </a:lstStyle>
          <a:p>
            <a:fld id="{3210C40C-3E24-4C85-8B6D-E9FF35E6BCBE}" type="datetime4">
              <a:rPr lang="en-GB" altLang="en-US" smtClean="0"/>
              <a:t>6 July 2025</a:t>
            </a:fld>
            <a:endParaRPr lang="en-GB" altLang="en-US"/>
          </a:p>
        </p:txBody>
      </p:sp>
      <p:sp>
        <p:nvSpPr>
          <p:cNvPr id="373775" name="Rectangle 15"/>
          <p:cNvSpPr>
            <a:spLocks noChangeArrowheads="1"/>
          </p:cNvSpPr>
          <p:nvPr/>
        </p:nvSpPr>
        <p:spPr bwMode="auto">
          <a:xfrm>
            <a:off x="0" y="1"/>
            <a:ext cx="12192000" cy="6731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 sz="2400"/>
          </a:p>
        </p:txBody>
      </p:sp>
      <p:sp>
        <p:nvSpPr>
          <p:cNvPr id="373777" name="Line 17"/>
          <p:cNvSpPr>
            <a:spLocks noChangeShapeType="1"/>
          </p:cNvSpPr>
          <p:nvPr/>
        </p:nvSpPr>
        <p:spPr bwMode="auto">
          <a:xfrm>
            <a:off x="0" y="676275"/>
            <a:ext cx="12192000" cy="1588"/>
          </a:xfrm>
          <a:prstGeom prst="line">
            <a:avLst/>
          </a:prstGeom>
          <a:noFill/>
          <a:ln w="317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2400"/>
          </a:p>
        </p:txBody>
      </p:sp>
      <p:sp>
        <p:nvSpPr>
          <p:cNvPr id="373781" name="Rectangle 2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368" y="2159001"/>
            <a:ext cx="11232000" cy="3959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1E3F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Normal text – Verdana, 15pt regular, ls 21pt, ap 9pt, black.</a:t>
            </a:r>
          </a:p>
          <a:p>
            <a:pPr lvl="1"/>
            <a:r>
              <a:rPr lang="en-GB" altLang="en-US"/>
              <a:t>Title – Verdana, 21pt regular, ls 27pt, blue (0,51,153).</a:t>
            </a:r>
          </a:p>
          <a:p>
            <a:pPr lvl="1"/>
            <a:r>
              <a:rPr lang="en-GB" altLang="en-US"/>
              <a:t>Subtitle – Verdana, 18pt bold (apply manually), ls 27pt, blue (0,51,153).</a:t>
            </a:r>
          </a:p>
          <a:p>
            <a:pPr lvl="1"/>
            <a:r>
              <a:rPr lang="en-GB" altLang="en-US"/>
              <a:t>Bullets level 1 – Verdana, 13.5pt regular, ls 18pt, ap 6pt, black.</a:t>
            </a:r>
          </a:p>
          <a:p>
            <a:pPr lvl="2"/>
            <a:r>
              <a:rPr lang="en-GB" altLang="en-US"/>
              <a:t>Bullets level 2 – Verdana, 12pt regular, ls 18pt, ap 4.5pt, black.</a:t>
            </a:r>
          </a:p>
          <a:p>
            <a:pPr lvl="3"/>
            <a:r>
              <a:rPr lang="en-GB" altLang="en-US"/>
              <a:t>Bullets level 3 – Verdana, 10.5pt regular, ls 15pt, ap 4.5pt, black. NOT RECOMMENDED TO USE BEYOND LEVEL 3</a:t>
            </a:r>
          </a:p>
          <a:p>
            <a:pPr lvl="4"/>
            <a:r>
              <a:rPr lang="en-GB" altLang="en-US"/>
              <a:t>Bullets level 4 – Verdana, 10.5pt regular, ls 15pt, ap 4.5pt, black.</a:t>
            </a:r>
          </a:p>
          <a:p>
            <a:pPr lvl="4"/>
            <a:r>
              <a:rPr lang="en-GB" altLang="en-US"/>
              <a:t>Bullets level 5 – Verdana, 10.5pt regular, ls 15pt, ap 4.5pt, black.</a:t>
            </a:r>
          </a:p>
          <a:p>
            <a:pPr lvl="6"/>
            <a:r>
              <a:rPr lang="en-GB" altLang="en-US"/>
              <a:t>Bullets level 6 – Verdana, 10.5pt regular, ls 15pt, ap 4.5pt, black.</a:t>
            </a:r>
          </a:p>
          <a:p>
            <a:pPr lvl="7"/>
            <a:r>
              <a:rPr lang="en-GB" altLang="en-US"/>
              <a:t>Bullets level 7 – Verdana, 10.5pt regular, ls 15pt, ap 4.5pt, black.</a:t>
            </a:r>
          </a:p>
          <a:p>
            <a:pPr lvl="8"/>
            <a:r>
              <a:rPr lang="en-GB" altLang="en-US"/>
              <a:t>Bullets level 8 – Verdana, 10.5pt regular, ls 15pt, ap 4.5pt, black.</a:t>
            </a:r>
          </a:p>
        </p:txBody>
      </p:sp>
      <p:sp>
        <p:nvSpPr>
          <p:cNvPr id="13" name="Rectangle 15"/>
          <p:cNvSpPr>
            <a:spLocks noChangeArrowheads="1"/>
          </p:cNvSpPr>
          <p:nvPr/>
        </p:nvSpPr>
        <p:spPr bwMode="auto">
          <a:xfrm>
            <a:off x="0" y="6734400"/>
            <a:ext cx="12192000" cy="1248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 sz="2400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2229" y="112952"/>
            <a:ext cx="1248139" cy="4471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MSIPCMContentMarking" descr="{&quot;HashCode&quot;:-411456414,&quot;Placement&quot;:&quot;Footer&quot;,&quot;Top&quot;:388.417633,&quot;Left&quot;:253.010468,&quot;SlideWidth&quot;:720,&quot;SlideHeight&quot;:405}">
            <a:extLst>
              <a:ext uri="{FF2B5EF4-FFF2-40B4-BE49-F238E27FC236}">
                <a16:creationId xmlns:a16="http://schemas.microsoft.com/office/drawing/2014/main" id="{1F8A9417-13CA-96C5-1A8D-939C5BCBB913}"/>
              </a:ext>
            </a:extLst>
          </p:cNvPr>
          <p:cNvSpPr txBox="1"/>
          <p:nvPr userDrawn="1"/>
        </p:nvSpPr>
        <p:spPr>
          <a:xfrm>
            <a:off x="4284311" y="6645820"/>
            <a:ext cx="3623380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933">
                <a:solidFill>
                  <a:srgbClr val="737373"/>
                </a:solidFill>
                <a:latin typeface="Verdana" panose="020B0604030504040204" pitchFamily="34" charset="0"/>
              </a:rPr>
              <a:t>Classified as public by the European Medicines Agency </a:t>
            </a:r>
            <a:endParaRPr lang="en-NL" sz="933">
              <a:solidFill>
                <a:srgbClr val="737373"/>
              </a:solidFill>
              <a:latin typeface="Verdana" panose="020B060403050404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358F87-E8D7-5717-24F7-AE350D02E9E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475737" y="95418"/>
            <a:ext cx="966231" cy="50100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B76CE6-C419-8C25-BDC3-DCE94717DACB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5624629" y="68627"/>
            <a:ext cx="942745" cy="50740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E640807-5F2D-7F7A-E60F-3C15EDE089B5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21153" y="49239"/>
            <a:ext cx="1727441" cy="546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100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9" r:id="rId10"/>
  </p:sldLayoutIdLst>
  <p:hf hdr="0" dt="0"/>
  <p:txStyles>
    <p:titleStyle>
      <a:lvl1pPr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2pPr>
      <a:lvl3pPr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3pPr>
      <a:lvl4pPr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4pPr>
      <a:lvl5pPr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5pPr>
      <a:lvl6pPr marL="609585"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6pPr>
      <a:lvl7pPr marL="1219170"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7pPr>
      <a:lvl8pPr marL="1828754"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8pPr>
      <a:lvl9pPr marL="2438339"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9pPr>
    </p:titleStyle>
    <p:bodyStyle>
      <a:lvl1pPr algn="l" defTabSz="10762982" rtl="0" eaLnBrk="1" fontAlgn="base" hangingPunct="1">
        <a:lnSpc>
          <a:spcPts val="2800"/>
        </a:lnSpc>
        <a:spcBef>
          <a:spcPct val="0"/>
        </a:spcBef>
        <a:spcAft>
          <a:spcPts val="1200"/>
        </a:spcAft>
        <a:buClr>
          <a:srgbClr val="000000"/>
        </a:buClr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357708" indent="-355591" algn="l" defTabSz="10762982" rtl="0" eaLnBrk="1" fontAlgn="base" hangingPunct="1">
        <a:lnSpc>
          <a:spcPts val="2400"/>
        </a:lnSpc>
        <a:spcBef>
          <a:spcPct val="0"/>
        </a:spcBef>
        <a:spcAft>
          <a:spcPts val="800"/>
        </a:spcAft>
        <a:buClr>
          <a:schemeClr val="tx1"/>
        </a:buClr>
        <a:buChar char="•"/>
        <a:defRPr sz="1800">
          <a:solidFill>
            <a:schemeClr val="tx1"/>
          </a:solidFill>
          <a:latin typeface="+mn-lt"/>
          <a:cs typeface="+mn-cs"/>
        </a:defRPr>
      </a:lvl2pPr>
      <a:lvl3pPr marL="696367" indent="-309026" algn="l" defTabSz="10762982" rtl="0" eaLnBrk="1" fontAlgn="base" hangingPunct="1">
        <a:lnSpc>
          <a:spcPts val="24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026558" indent="-292093" algn="l" defTabSz="10762982" rtl="0" eaLnBrk="1" fontAlgn="base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•"/>
        <a:defRPr sz="1400">
          <a:solidFill>
            <a:schemeClr val="tx1"/>
          </a:solidFill>
          <a:latin typeface="+mn-lt"/>
          <a:cs typeface="+mn-cs"/>
        </a:defRPr>
      </a:lvl4pPr>
      <a:lvl5pPr marL="1354633" marR="0" indent="-300559" algn="l" defTabSz="10762982" rtl="0" eaLnBrk="1" fontAlgn="base" latinLnBrk="0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SzTx/>
        <a:buFont typeface="Verdana" pitchFamily="34" charset="0"/>
        <a:buChar char="–"/>
        <a:tabLst/>
        <a:defRPr sz="1400">
          <a:solidFill>
            <a:schemeClr val="tx1"/>
          </a:solidFill>
          <a:latin typeface="+mn-lt"/>
          <a:cs typeface="+mn-cs"/>
        </a:defRPr>
      </a:lvl5pPr>
      <a:lvl6pPr marL="1352517" indent="-302392" algn="l" defTabSz="10762982" rtl="0" eaLnBrk="1" fontAlgn="base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–"/>
        <a:defRPr lang="en-GB" altLang="en-US" sz="1400" smtClean="0">
          <a:solidFill>
            <a:schemeClr val="tx1"/>
          </a:solidFill>
          <a:latin typeface="+mn-lt"/>
          <a:cs typeface="+mn-cs"/>
        </a:defRPr>
      </a:lvl6pPr>
      <a:lvl7pPr marL="1353566" indent="-300559" algn="l" defTabSz="10762982" rtl="0" eaLnBrk="1" fontAlgn="base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7pPr>
      <a:lvl8pPr marL="1353566" indent="-300559" algn="l" defTabSz="10762982" rtl="0" eaLnBrk="1" fontAlgn="base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8pPr>
      <a:lvl9pPr marL="1353566" indent="-300559" algn="l" defTabSz="10762982" rtl="0" eaLnBrk="1" fontAlgn="base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76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8368" y="1025526"/>
            <a:ext cx="11232000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33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add title</a:t>
            </a:r>
          </a:p>
        </p:txBody>
      </p:sp>
      <p:sp>
        <p:nvSpPr>
          <p:cNvPr id="37376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58853" y="6405563"/>
            <a:ext cx="8638116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ts val="1600"/>
              </a:lnSpc>
              <a:defRPr sz="1107">
                <a:solidFill>
                  <a:schemeClr val="tx1"/>
                </a:solidFill>
              </a:defRPr>
            </a:lvl1pPr>
          </a:lstStyle>
          <a:p>
            <a:r>
              <a:rPr lang="en-GB" altLang="en-US"/>
              <a:t>Introduction of the DARWIN EU® Coordination Centre</a:t>
            </a:r>
          </a:p>
          <a:p>
            <a:r>
              <a:rPr lang="en-GB" altLang="en-US"/>
              <a:t> </a:t>
            </a:r>
          </a:p>
        </p:txBody>
      </p:sp>
      <p:sp>
        <p:nvSpPr>
          <p:cNvPr id="37376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80486" y="6405563"/>
            <a:ext cx="410633" cy="239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ts val="1600"/>
              </a:lnSpc>
              <a:defRPr sz="1107">
                <a:solidFill>
                  <a:schemeClr val="tx1"/>
                </a:solidFill>
              </a:defRPr>
            </a:lvl1pPr>
          </a:lstStyle>
          <a:p>
            <a:fld id="{DB468437-DC6C-443C-8387-7F3DABA73C17}" type="slidenum">
              <a:rPr lang="en-GB" altLang="en-US" smtClean="0"/>
              <a:pPr/>
              <a:t>‹#›</a:t>
            </a:fld>
            <a:endParaRPr lang="en-GB" altLang="en-US"/>
          </a:p>
        </p:txBody>
      </p:sp>
      <p:sp>
        <p:nvSpPr>
          <p:cNvPr id="373768" name="Rectangle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792000" y="6405563"/>
            <a:ext cx="1919816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ts val="1600"/>
              </a:lnSpc>
              <a:defRPr sz="1107">
                <a:solidFill>
                  <a:schemeClr val="tx1"/>
                </a:solidFill>
              </a:defRPr>
            </a:lvl1pPr>
          </a:lstStyle>
          <a:p>
            <a:fld id="{92B47BF8-6ACE-D14D-B9E4-AE058DD2ED63}" type="datetime4">
              <a:rPr lang="en-US" altLang="en-US" smtClean="0"/>
              <a:t>July 6, 2025</a:t>
            </a:fld>
            <a:endParaRPr lang="en-GB" altLang="en-US"/>
          </a:p>
        </p:txBody>
      </p:sp>
      <p:sp>
        <p:nvSpPr>
          <p:cNvPr id="373775" name="Rectangle 15"/>
          <p:cNvSpPr>
            <a:spLocks noChangeArrowheads="1"/>
          </p:cNvSpPr>
          <p:nvPr/>
        </p:nvSpPr>
        <p:spPr bwMode="auto">
          <a:xfrm>
            <a:off x="0" y="1"/>
            <a:ext cx="12192000" cy="6731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 sz="2400"/>
          </a:p>
        </p:txBody>
      </p:sp>
      <p:sp>
        <p:nvSpPr>
          <p:cNvPr id="373777" name="Line 17"/>
          <p:cNvSpPr>
            <a:spLocks noChangeShapeType="1"/>
          </p:cNvSpPr>
          <p:nvPr/>
        </p:nvSpPr>
        <p:spPr bwMode="auto">
          <a:xfrm>
            <a:off x="0" y="676275"/>
            <a:ext cx="12192000" cy="1588"/>
          </a:xfrm>
          <a:prstGeom prst="line">
            <a:avLst/>
          </a:prstGeom>
          <a:noFill/>
          <a:ln w="317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2400"/>
          </a:p>
        </p:txBody>
      </p:sp>
      <p:sp>
        <p:nvSpPr>
          <p:cNvPr id="373781" name="Rectangle 2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368" y="2159001"/>
            <a:ext cx="11232000" cy="3959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1E3F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Normal text – Verdana, 15pt regular, ls 21pt, ap 9pt, black.</a:t>
            </a:r>
          </a:p>
          <a:p>
            <a:pPr lvl="1"/>
            <a:r>
              <a:rPr lang="en-GB" altLang="en-US"/>
              <a:t>Title – Verdana, 21pt regular, ls 27pt, blue (0,51,153).</a:t>
            </a:r>
          </a:p>
          <a:p>
            <a:pPr lvl="1"/>
            <a:r>
              <a:rPr lang="en-GB" altLang="en-US"/>
              <a:t>Subtitle – Verdana, 18pt bold (apply manually), ls 27pt, blue (0,51,153).</a:t>
            </a:r>
          </a:p>
          <a:p>
            <a:pPr lvl="1"/>
            <a:r>
              <a:rPr lang="en-GB" altLang="en-US"/>
              <a:t>Bullets level 1 – Verdana, 13.5pt regular, ls 18pt, ap 6pt, black.</a:t>
            </a:r>
          </a:p>
          <a:p>
            <a:pPr lvl="2"/>
            <a:r>
              <a:rPr lang="en-GB" altLang="en-US"/>
              <a:t>Bullets level 2 – Verdana, 12pt regular, ls 18pt, ap 4.5pt, black.</a:t>
            </a:r>
          </a:p>
          <a:p>
            <a:pPr lvl="3"/>
            <a:r>
              <a:rPr lang="en-GB" altLang="en-US"/>
              <a:t>Bullets level 3 – Verdana, 10.5pt regular, ls 15pt, ap 4.5pt, black. NOT RECOMMENDED TO USE BEYOND LEVEL 3</a:t>
            </a:r>
          </a:p>
          <a:p>
            <a:pPr lvl="4"/>
            <a:r>
              <a:rPr lang="en-GB" altLang="en-US"/>
              <a:t>Bullets level 4 – Verdana, 10.5pt regular, ls 15pt, ap 4.5pt, black.</a:t>
            </a:r>
          </a:p>
          <a:p>
            <a:pPr lvl="4"/>
            <a:r>
              <a:rPr lang="en-GB" altLang="en-US"/>
              <a:t>Bullets level 5 – Verdana, 10.5pt regular, ls 15pt, ap 4.5pt, black.</a:t>
            </a:r>
          </a:p>
          <a:p>
            <a:pPr lvl="6"/>
            <a:r>
              <a:rPr lang="en-GB" altLang="en-US"/>
              <a:t>Bullets level 6 – Verdana, 10.5pt regular, ls 15pt, ap 4.5pt, black.</a:t>
            </a:r>
          </a:p>
          <a:p>
            <a:pPr lvl="7"/>
            <a:r>
              <a:rPr lang="en-GB" altLang="en-US"/>
              <a:t>Bullets level 7 – Verdana, 10.5pt regular, ls 15pt, ap 4.5pt, black.</a:t>
            </a:r>
          </a:p>
          <a:p>
            <a:pPr lvl="8"/>
            <a:r>
              <a:rPr lang="en-GB" altLang="en-US"/>
              <a:t>Bullets level 8 – Verdana, 10.5pt regular, ls 15pt, ap 4.5pt, black.</a:t>
            </a:r>
          </a:p>
        </p:txBody>
      </p:sp>
      <p:sp>
        <p:nvSpPr>
          <p:cNvPr id="13" name="Rectangle 15"/>
          <p:cNvSpPr>
            <a:spLocks noChangeArrowheads="1"/>
          </p:cNvSpPr>
          <p:nvPr/>
        </p:nvSpPr>
        <p:spPr bwMode="auto">
          <a:xfrm>
            <a:off x="0" y="6734400"/>
            <a:ext cx="12192000" cy="1248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100257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</p:sldLayoutIdLst>
  <p:hf hdr="0" dt="0"/>
  <p:txStyles>
    <p:titleStyle>
      <a:lvl1pPr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2pPr>
      <a:lvl3pPr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3pPr>
      <a:lvl4pPr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4pPr>
      <a:lvl5pPr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5pPr>
      <a:lvl6pPr marL="609585"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6pPr>
      <a:lvl7pPr marL="1219170"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7pPr>
      <a:lvl8pPr marL="1828754"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8pPr>
      <a:lvl9pPr marL="2438339"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9pPr>
    </p:titleStyle>
    <p:bodyStyle>
      <a:lvl1pPr algn="l" defTabSz="10762982" rtl="0" eaLnBrk="1" fontAlgn="base" hangingPunct="1">
        <a:lnSpc>
          <a:spcPts val="2800"/>
        </a:lnSpc>
        <a:spcBef>
          <a:spcPct val="0"/>
        </a:spcBef>
        <a:spcAft>
          <a:spcPts val="1200"/>
        </a:spcAft>
        <a:buClr>
          <a:srgbClr val="000000"/>
        </a:buClr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357708" indent="-355591" algn="l" defTabSz="10762982" rtl="0" eaLnBrk="1" fontAlgn="base" hangingPunct="1">
        <a:lnSpc>
          <a:spcPts val="2400"/>
        </a:lnSpc>
        <a:spcBef>
          <a:spcPct val="0"/>
        </a:spcBef>
        <a:spcAft>
          <a:spcPts val="800"/>
        </a:spcAft>
        <a:buClr>
          <a:schemeClr val="tx1"/>
        </a:buClr>
        <a:buChar char="•"/>
        <a:defRPr sz="1800">
          <a:solidFill>
            <a:schemeClr val="tx1"/>
          </a:solidFill>
          <a:latin typeface="+mn-lt"/>
          <a:cs typeface="+mn-cs"/>
        </a:defRPr>
      </a:lvl2pPr>
      <a:lvl3pPr marL="696367" indent="-309026" algn="l" defTabSz="10762982" rtl="0" eaLnBrk="1" fontAlgn="base" hangingPunct="1">
        <a:lnSpc>
          <a:spcPts val="24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026558" indent="-292093" algn="l" defTabSz="10762982" rtl="0" eaLnBrk="1" fontAlgn="base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•"/>
        <a:defRPr sz="1400">
          <a:solidFill>
            <a:schemeClr val="tx1"/>
          </a:solidFill>
          <a:latin typeface="+mn-lt"/>
          <a:cs typeface="+mn-cs"/>
        </a:defRPr>
      </a:lvl4pPr>
      <a:lvl5pPr marL="1354633" marR="0" indent="-300559" algn="l" defTabSz="10762982" rtl="0" eaLnBrk="1" fontAlgn="base" latinLnBrk="0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SzTx/>
        <a:buFont typeface="Verdana" pitchFamily="34" charset="0"/>
        <a:buChar char="–"/>
        <a:tabLst/>
        <a:defRPr sz="1400">
          <a:solidFill>
            <a:schemeClr val="tx1"/>
          </a:solidFill>
          <a:latin typeface="+mn-lt"/>
          <a:cs typeface="+mn-cs"/>
        </a:defRPr>
      </a:lvl5pPr>
      <a:lvl6pPr marL="1352517" indent="-302392" algn="l" defTabSz="10762982" rtl="0" eaLnBrk="1" fontAlgn="base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–"/>
        <a:defRPr lang="en-GB" altLang="en-US" sz="1400" smtClean="0">
          <a:solidFill>
            <a:schemeClr val="tx1"/>
          </a:solidFill>
          <a:latin typeface="+mn-lt"/>
          <a:cs typeface="+mn-cs"/>
        </a:defRPr>
      </a:lvl6pPr>
      <a:lvl7pPr marL="1353566" indent="-300559" algn="l" defTabSz="10762982" rtl="0" eaLnBrk="1" fontAlgn="base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7pPr>
      <a:lvl8pPr marL="1353566" indent="-300559" algn="l" defTabSz="10762982" rtl="0" eaLnBrk="1" fontAlgn="base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8pPr>
      <a:lvl9pPr marL="1353566" indent="-300559" algn="l" defTabSz="10762982" rtl="0" eaLnBrk="1" fontAlgn="base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76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8368" y="1025526"/>
            <a:ext cx="11232000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33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add title</a:t>
            </a:r>
          </a:p>
        </p:txBody>
      </p:sp>
      <p:sp>
        <p:nvSpPr>
          <p:cNvPr id="37376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58853" y="6405563"/>
            <a:ext cx="8638116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ts val="1600"/>
              </a:lnSpc>
              <a:defRPr sz="1107">
                <a:solidFill>
                  <a:schemeClr val="tx1"/>
                </a:solidFill>
              </a:defRPr>
            </a:lvl1pPr>
          </a:lstStyle>
          <a:p>
            <a:r>
              <a:rPr lang="en-GB" altLang="en-US"/>
              <a:t>Introduction of the DARWIN EU® Coordination Centre</a:t>
            </a:r>
          </a:p>
          <a:p>
            <a:r>
              <a:rPr lang="en-GB" altLang="en-US"/>
              <a:t> </a:t>
            </a:r>
          </a:p>
        </p:txBody>
      </p:sp>
      <p:sp>
        <p:nvSpPr>
          <p:cNvPr id="37376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80486" y="6405563"/>
            <a:ext cx="410633" cy="239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ts val="1600"/>
              </a:lnSpc>
              <a:defRPr sz="1107">
                <a:solidFill>
                  <a:schemeClr val="tx1"/>
                </a:solidFill>
              </a:defRPr>
            </a:lvl1pPr>
          </a:lstStyle>
          <a:p>
            <a:fld id="{DB468437-DC6C-443C-8387-7F3DABA73C17}" type="slidenum">
              <a:rPr lang="en-GB" altLang="en-US" smtClean="0"/>
              <a:pPr/>
              <a:t>‹#›</a:t>
            </a:fld>
            <a:endParaRPr lang="en-GB" altLang="en-US"/>
          </a:p>
        </p:txBody>
      </p:sp>
      <p:sp>
        <p:nvSpPr>
          <p:cNvPr id="373768" name="Rectangle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792000" y="6405563"/>
            <a:ext cx="1919816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ts val="1600"/>
              </a:lnSpc>
              <a:defRPr sz="1107">
                <a:solidFill>
                  <a:schemeClr val="tx1"/>
                </a:solidFill>
              </a:defRPr>
            </a:lvl1pPr>
          </a:lstStyle>
          <a:p>
            <a:fld id="{92B47BF8-6ACE-D14D-B9E4-AE058DD2ED63}" type="datetime4">
              <a:rPr lang="en-US" altLang="en-US" smtClean="0"/>
              <a:t>July 6, 2025</a:t>
            </a:fld>
            <a:endParaRPr lang="en-GB" altLang="en-US"/>
          </a:p>
        </p:txBody>
      </p:sp>
      <p:sp>
        <p:nvSpPr>
          <p:cNvPr id="373775" name="Rectangle 15"/>
          <p:cNvSpPr>
            <a:spLocks noChangeArrowheads="1"/>
          </p:cNvSpPr>
          <p:nvPr/>
        </p:nvSpPr>
        <p:spPr bwMode="auto">
          <a:xfrm>
            <a:off x="0" y="1"/>
            <a:ext cx="12192000" cy="6731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 sz="2400"/>
          </a:p>
        </p:txBody>
      </p:sp>
      <p:sp>
        <p:nvSpPr>
          <p:cNvPr id="373777" name="Line 17"/>
          <p:cNvSpPr>
            <a:spLocks noChangeShapeType="1"/>
          </p:cNvSpPr>
          <p:nvPr/>
        </p:nvSpPr>
        <p:spPr bwMode="auto">
          <a:xfrm>
            <a:off x="0" y="676275"/>
            <a:ext cx="12192000" cy="1588"/>
          </a:xfrm>
          <a:prstGeom prst="line">
            <a:avLst/>
          </a:prstGeom>
          <a:noFill/>
          <a:ln w="317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2400"/>
          </a:p>
        </p:txBody>
      </p:sp>
      <p:sp>
        <p:nvSpPr>
          <p:cNvPr id="373781" name="Rectangle 2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368" y="2159001"/>
            <a:ext cx="11232000" cy="3959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1E3F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Normal text – Verdana, 15pt regular, ls 21pt, ap 9pt, black.</a:t>
            </a:r>
          </a:p>
          <a:p>
            <a:pPr lvl="1"/>
            <a:r>
              <a:rPr lang="en-GB" altLang="en-US"/>
              <a:t>Title – Verdana, 21pt regular, ls 27pt, blue (0,51,153).</a:t>
            </a:r>
          </a:p>
          <a:p>
            <a:pPr lvl="1"/>
            <a:r>
              <a:rPr lang="en-GB" altLang="en-US"/>
              <a:t>Subtitle – Verdana, 18pt bold (apply manually), ls 27pt, blue (0,51,153).</a:t>
            </a:r>
          </a:p>
          <a:p>
            <a:pPr lvl="1"/>
            <a:r>
              <a:rPr lang="en-GB" altLang="en-US"/>
              <a:t>Bullets level 1 – Verdana, 13.5pt regular, ls 18pt, ap 6pt, black.</a:t>
            </a:r>
          </a:p>
          <a:p>
            <a:pPr lvl="2"/>
            <a:r>
              <a:rPr lang="en-GB" altLang="en-US"/>
              <a:t>Bullets level 2 – Verdana, 12pt regular, ls 18pt, ap 4.5pt, black.</a:t>
            </a:r>
          </a:p>
          <a:p>
            <a:pPr lvl="3"/>
            <a:r>
              <a:rPr lang="en-GB" altLang="en-US"/>
              <a:t>Bullets level 3 – Verdana, 10.5pt regular, ls 15pt, ap 4.5pt, black. NOT RECOMMENDED TO USE BEYOND LEVEL 3</a:t>
            </a:r>
          </a:p>
          <a:p>
            <a:pPr lvl="4"/>
            <a:r>
              <a:rPr lang="en-GB" altLang="en-US"/>
              <a:t>Bullets level 4 – Verdana, 10.5pt regular, ls 15pt, ap 4.5pt, black.</a:t>
            </a:r>
          </a:p>
          <a:p>
            <a:pPr lvl="4"/>
            <a:r>
              <a:rPr lang="en-GB" altLang="en-US"/>
              <a:t>Bullets level 5 – Verdana, 10.5pt regular, ls 15pt, ap 4.5pt, black.</a:t>
            </a:r>
          </a:p>
          <a:p>
            <a:pPr lvl="6"/>
            <a:r>
              <a:rPr lang="en-GB" altLang="en-US"/>
              <a:t>Bullets level 6 – Verdana, 10.5pt regular, ls 15pt, ap 4.5pt, black.</a:t>
            </a:r>
          </a:p>
          <a:p>
            <a:pPr lvl="7"/>
            <a:r>
              <a:rPr lang="en-GB" altLang="en-US"/>
              <a:t>Bullets level 7 – Verdana, 10.5pt regular, ls 15pt, ap 4.5pt, black.</a:t>
            </a:r>
          </a:p>
          <a:p>
            <a:pPr lvl="8"/>
            <a:r>
              <a:rPr lang="en-GB" altLang="en-US"/>
              <a:t>Bullets level 8 – Verdana, 10.5pt regular, ls 15pt, ap 4.5pt, black.</a:t>
            </a:r>
          </a:p>
        </p:txBody>
      </p:sp>
      <p:sp>
        <p:nvSpPr>
          <p:cNvPr id="13" name="Rectangle 15"/>
          <p:cNvSpPr>
            <a:spLocks noChangeArrowheads="1"/>
          </p:cNvSpPr>
          <p:nvPr/>
        </p:nvSpPr>
        <p:spPr bwMode="auto">
          <a:xfrm>
            <a:off x="0" y="6734400"/>
            <a:ext cx="12192000" cy="1248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3629664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875" r:id="rId2"/>
    <p:sldLayoutId id="2147483876" r:id="rId3"/>
    <p:sldLayoutId id="2147483686" r:id="rId4"/>
    <p:sldLayoutId id="2147483877" r:id="rId5"/>
    <p:sldLayoutId id="2147483878" r:id="rId6"/>
    <p:sldLayoutId id="2147483879" r:id="rId7"/>
    <p:sldLayoutId id="2147483881" r:id="rId8"/>
    <p:sldLayoutId id="2147483882" r:id="rId9"/>
    <p:sldLayoutId id="2147483883" r:id="rId10"/>
    <p:sldLayoutId id="2147483959" r:id="rId11"/>
  </p:sldLayoutIdLst>
  <p:hf hdr="0" dt="0"/>
  <p:txStyles>
    <p:titleStyle>
      <a:lvl1pPr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2pPr>
      <a:lvl3pPr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3pPr>
      <a:lvl4pPr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4pPr>
      <a:lvl5pPr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5pPr>
      <a:lvl6pPr marL="609585"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6pPr>
      <a:lvl7pPr marL="1219170"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7pPr>
      <a:lvl8pPr marL="1828754"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8pPr>
      <a:lvl9pPr marL="2438339"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9pPr>
    </p:titleStyle>
    <p:bodyStyle>
      <a:lvl1pPr algn="l" defTabSz="10762982" rtl="0" eaLnBrk="1" fontAlgn="base" hangingPunct="1">
        <a:lnSpc>
          <a:spcPts val="2800"/>
        </a:lnSpc>
        <a:spcBef>
          <a:spcPct val="0"/>
        </a:spcBef>
        <a:spcAft>
          <a:spcPts val="1200"/>
        </a:spcAft>
        <a:buClr>
          <a:srgbClr val="000000"/>
        </a:buClr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357708" indent="-355591" algn="l" defTabSz="10762982" rtl="0" eaLnBrk="1" fontAlgn="base" hangingPunct="1">
        <a:lnSpc>
          <a:spcPts val="2400"/>
        </a:lnSpc>
        <a:spcBef>
          <a:spcPct val="0"/>
        </a:spcBef>
        <a:spcAft>
          <a:spcPts val="800"/>
        </a:spcAft>
        <a:buClr>
          <a:schemeClr val="tx1"/>
        </a:buClr>
        <a:buChar char="•"/>
        <a:defRPr sz="1800">
          <a:solidFill>
            <a:schemeClr val="tx1"/>
          </a:solidFill>
          <a:latin typeface="+mn-lt"/>
          <a:cs typeface="+mn-cs"/>
        </a:defRPr>
      </a:lvl2pPr>
      <a:lvl3pPr marL="696367" indent="-309026" algn="l" defTabSz="10762982" rtl="0" eaLnBrk="1" fontAlgn="base" hangingPunct="1">
        <a:lnSpc>
          <a:spcPts val="24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026558" indent="-292093" algn="l" defTabSz="10762982" rtl="0" eaLnBrk="1" fontAlgn="base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•"/>
        <a:defRPr sz="1400">
          <a:solidFill>
            <a:schemeClr val="tx1"/>
          </a:solidFill>
          <a:latin typeface="+mn-lt"/>
          <a:cs typeface="+mn-cs"/>
        </a:defRPr>
      </a:lvl4pPr>
      <a:lvl5pPr marL="1354633" marR="0" indent="-300559" algn="l" defTabSz="10762982" rtl="0" eaLnBrk="1" fontAlgn="base" latinLnBrk="0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SzTx/>
        <a:buFont typeface="Verdana" pitchFamily="34" charset="0"/>
        <a:buChar char="–"/>
        <a:tabLst/>
        <a:defRPr sz="1400">
          <a:solidFill>
            <a:schemeClr val="tx1"/>
          </a:solidFill>
          <a:latin typeface="+mn-lt"/>
          <a:cs typeface="+mn-cs"/>
        </a:defRPr>
      </a:lvl5pPr>
      <a:lvl6pPr marL="1352517" indent="-302392" algn="l" defTabSz="10762982" rtl="0" eaLnBrk="1" fontAlgn="base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–"/>
        <a:defRPr lang="en-GB" altLang="en-US" sz="1400" smtClean="0">
          <a:solidFill>
            <a:schemeClr val="tx1"/>
          </a:solidFill>
          <a:latin typeface="+mn-lt"/>
          <a:cs typeface="+mn-cs"/>
        </a:defRPr>
      </a:lvl6pPr>
      <a:lvl7pPr marL="1353566" indent="-300559" algn="l" defTabSz="10762982" rtl="0" eaLnBrk="1" fontAlgn="base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7pPr>
      <a:lvl8pPr marL="1353566" indent="-300559" algn="l" defTabSz="10762982" rtl="0" eaLnBrk="1" fontAlgn="base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8pPr>
      <a:lvl9pPr marL="1353566" indent="-300559" algn="l" defTabSz="10762982" rtl="0" eaLnBrk="1" fontAlgn="base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1424" y="116632"/>
            <a:ext cx="10363200" cy="936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340768"/>
            <a:ext cx="10363200" cy="4755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Picture 1" descr="logo.png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338" y="6237313"/>
            <a:ext cx="3503711" cy="475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60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886" r:id="rId2"/>
    <p:sldLayoutId id="2147483696" r:id="rId3"/>
    <p:sldLayoutId id="2147483888" r:id="rId4"/>
    <p:sldLayoutId id="2147483889" r:id="rId5"/>
    <p:sldLayoutId id="2147483890" r:id="rId6"/>
    <p:sldLayoutId id="2147483887" r:id="rId7"/>
    <p:sldLayoutId id="2147483701" r:id="rId8"/>
    <p:sldLayoutId id="2147483891" r:id="rId9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400" b="0" i="1">
          <a:solidFill>
            <a:srgbClr val="C00000"/>
          </a:solidFill>
          <a:latin typeface="Franklin Gothic Demi" panose="020B0703020102020204" pitchFamily="34" charset="0"/>
          <a:ea typeface="+mj-ea"/>
          <a:cs typeface="Franklin Gothic Demi" panose="020B07030201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81410"/>
        </a:buClr>
        <a:buFont typeface="Arial" panose="020B0604020202020204" pitchFamily="34" charset="0"/>
        <a:buChar char="•"/>
        <a:defRPr sz="28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C81410"/>
        </a:buClr>
        <a:buFont typeface="Arial" panose="020B0604020202020204" pitchFamily="34" charset="0"/>
        <a:buChar char="•"/>
        <a:defRPr sz="28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C81410"/>
        </a:buClr>
        <a:buFont typeface="Arial" panose="020B0604020202020204" pitchFamily="34" charset="0"/>
        <a:buChar char="•"/>
        <a:defRPr sz="28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81410"/>
        </a:buClr>
        <a:buFont typeface="Arial" panose="020B0604020202020204" pitchFamily="34" charset="0"/>
        <a:buChar char="•"/>
        <a:defRPr sz="28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C81410"/>
        </a:buClr>
        <a:buFont typeface="Arial" panose="020B0604020202020204" pitchFamily="34" charset="0"/>
        <a:buChar char="•"/>
        <a:defRPr sz="28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5367" y="1333500"/>
            <a:ext cx="10981267" cy="47593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>
                <a:sym typeface="Arial" pitchFamily="-65" charset="0"/>
              </a:rPr>
              <a:t>Edit Master text styles</a:t>
            </a:r>
          </a:p>
          <a:p>
            <a:pPr lvl="1"/>
            <a:r>
              <a:rPr lang="en-US">
                <a:sym typeface="Arial" pitchFamily="-65" charset="0"/>
              </a:rPr>
              <a:t>Second level</a:t>
            </a:r>
          </a:p>
          <a:p>
            <a:pPr lvl="2"/>
            <a:r>
              <a:rPr lang="en-US">
                <a:sym typeface="Arial" pitchFamily="-65" charset="0"/>
              </a:rPr>
              <a:t>Third level</a:t>
            </a:r>
          </a:p>
          <a:p>
            <a:pPr lvl="3"/>
            <a:r>
              <a:rPr lang="en-US">
                <a:sym typeface="Arial" pitchFamily="-65" charset="0"/>
              </a:rPr>
              <a:t>Fourth level</a:t>
            </a:r>
          </a:p>
          <a:p>
            <a:pPr lvl="4"/>
            <a:r>
              <a:rPr lang="en-US">
                <a:sym typeface="Arial" pitchFamily="-65" charset="0"/>
              </a:rPr>
              <a:t>Fifth level</a:t>
            </a:r>
          </a:p>
        </p:txBody>
      </p:sp>
      <p:sp>
        <p:nvSpPr>
          <p:cNvPr id="9219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05367" y="378458"/>
            <a:ext cx="10145760" cy="38472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>
                <a:sym typeface="Arial" pitchFamily="-65" charset="0"/>
              </a:rPr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32233" y="6357937"/>
            <a:ext cx="454400" cy="3333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33">
                <a:solidFill>
                  <a:srgbClr val="CA001B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573" y="6092825"/>
            <a:ext cx="891369" cy="806070"/>
          </a:xfrm>
          <a:prstGeom prst="rect">
            <a:avLst/>
          </a:prstGeom>
        </p:spPr>
      </p:pic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9FB10895-A996-E740-8E76-5F5C8F2598B9}"/>
              </a:ext>
            </a:extLst>
          </p:cNvPr>
          <p:cNvSpPr txBox="1">
            <a:spLocks/>
          </p:cNvSpPr>
          <p:nvPr userDrawn="1"/>
        </p:nvSpPr>
        <p:spPr>
          <a:xfrm>
            <a:off x="8310873" y="6357936"/>
            <a:ext cx="3008977" cy="334960"/>
          </a:xfrm>
          <a:prstGeom prst="rect">
            <a:avLst/>
          </a:prstGeom>
        </p:spPr>
        <p:txBody>
          <a:bodyPr anchor="ctr"/>
          <a:lstStyle>
            <a:lvl1pPr marL="0" indent="0" algn="r" rtl="0" eaLnBrk="1" fontAlgn="base" hangingPunct="1">
              <a:lnSpc>
                <a:spcPct val="100000"/>
              </a:lnSpc>
              <a:spcBef>
                <a:spcPts val="216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defRPr sz="1200" b="1" baseline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260604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defRPr sz="120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636422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defRPr sz="120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075334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defRPr sz="120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556195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defRPr sz="120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2131468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477111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822754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3168397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defTabSz="761970"/>
            <a:r>
              <a:rPr lang="en-US" sz="1000" kern="0">
                <a:solidFill>
                  <a:srgbClr val="63666A"/>
                </a:solidFill>
              </a:rPr>
              <a:t>OFFICE OF THE CHIEF MEDICAL OFFICER</a:t>
            </a:r>
          </a:p>
        </p:txBody>
      </p:sp>
    </p:spTree>
    <p:extLst>
      <p:ext uri="{BB962C8B-B14F-4D97-AF65-F5344CB8AC3E}">
        <p14:creationId xmlns:p14="http://schemas.microsoft.com/office/powerpoint/2010/main" val="2002514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7" r:id="rId2"/>
    <p:sldLayoutId id="2147483688" r:id="rId3"/>
    <p:sldLayoutId id="2147483689" r:id="rId4"/>
    <p:sldLayoutId id="2147483745" r:id="rId5"/>
    <p:sldLayoutId id="2147483690" r:id="rId6"/>
    <p:sldLayoutId id="2147483691" r:id="rId7"/>
    <p:sldLayoutId id="2147483692" r:id="rId8"/>
    <p:sldLayoutId id="2147483693" r:id="rId9"/>
    <p:sldLayoutId id="2147483730" r:id="rId10"/>
    <p:sldLayoutId id="2147483695" r:id="rId11"/>
    <p:sldLayoutId id="2147483700" r:id="rId12"/>
    <p:sldLayoutId id="2147483697" r:id="rId13"/>
    <p:sldLayoutId id="2147483698" r:id="rId14"/>
    <p:sldLayoutId id="2147483699" r:id="rId15"/>
    <p:sldLayoutId id="2147483702" r:id="rId16"/>
    <p:sldLayoutId id="2147483703" r:id="rId17"/>
    <p:sldLayoutId id="2147483704" r:id="rId18"/>
    <p:sldLayoutId id="2147483706" r:id="rId19"/>
    <p:sldLayoutId id="2147483734" r:id="rId20"/>
    <p:sldLayoutId id="2147483733" r:id="rId21"/>
    <p:sldLayoutId id="2147483707" r:id="rId22"/>
    <p:sldLayoutId id="2147483708" r:id="rId23"/>
    <p:sldLayoutId id="2147483709" r:id="rId24"/>
    <p:sldLayoutId id="2147483710" r:id="rId25"/>
    <p:sldLayoutId id="2147483711" r:id="rId26"/>
    <p:sldLayoutId id="2147483712" r:id="rId27"/>
    <p:sldLayoutId id="2147483713" r:id="rId28"/>
    <p:sldLayoutId id="2147483743" r:id="rId29"/>
    <p:sldLayoutId id="2147483874" r:id="rId30"/>
  </p:sldLayoutIdLst>
  <p:transition>
    <p:fade/>
  </p:transition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+mj-lt"/>
          <a:ea typeface="Arial Unicode MS" pitchFamily="-65" charset="0"/>
          <a:cs typeface="Arial Unicode MS" pitchFamily="-65" charset="0"/>
          <a:sym typeface="Arial" pitchFamily="-65" charset="0"/>
        </a:defRPr>
      </a:lvl1pPr>
      <a:lvl2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2pPr>
      <a:lvl3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3pPr>
      <a:lvl4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4pPr>
      <a:lvl5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5pPr>
      <a:lvl6pPr marL="288024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6pPr>
      <a:lvl7pPr marL="576049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7pPr>
      <a:lvl8pPr marL="864074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8pPr>
      <a:lvl9pPr marL="1152098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9pPr>
    </p:titleStyle>
    <p:bodyStyle>
      <a:lvl1pPr marL="201160" indent="-237735" algn="l" rtl="0" eaLnBrk="1" fontAlgn="base" hangingPunct="1">
        <a:lnSpc>
          <a:spcPct val="100000"/>
        </a:lnSpc>
        <a:spcBef>
          <a:spcPts val="180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•"/>
        <a:defRPr sz="2500">
          <a:solidFill>
            <a:srgbClr val="63666A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1pPr>
      <a:lvl2pPr marL="457182" indent="-24002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–"/>
        <a:defRPr sz="2000">
          <a:solidFill>
            <a:srgbClr val="63666A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2pPr>
      <a:lvl3pPr marL="731491" indent="-20116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•"/>
        <a:defRPr sz="1800">
          <a:solidFill>
            <a:srgbClr val="63666A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3pPr>
      <a:lvl4pPr marL="1097236" indent="-20116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–"/>
        <a:defRPr sz="1500">
          <a:solidFill>
            <a:srgbClr val="63666A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4pPr>
      <a:lvl5pPr marL="1487905" indent="-191127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»"/>
        <a:defRPr sz="1300">
          <a:solidFill>
            <a:srgbClr val="63666A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5pPr>
      <a:lvl6pPr marL="1776152" indent="-192016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6pPr>
      <a:lvl7pPr marL="2064177" indent="-192016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7pPr>
      <a:lvl8pPr marL="2352201" indent="-192016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8pPr>
      <a:lvl9pPr marL="2640225" indent="-192016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9pPr>
    </p:bodyStyle>
    <p:otherStyle>
      <a:defPPr>
        <a:defRPr lang="en-US"/>
      </a:defPPr>
      <a:lvl1pPr marL="0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24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576049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74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098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440122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728147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016171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304196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80" userDrawn="1">
          <p15:clr>
            <a:srgbClr val="F26B43"/>
          </p15:clr>
        </p15:guide>
        <p15:guide id="3" pos="7300" userDrawn="1">
          <p15:clr>
            <a:srgbClr val="F26B43"/>
          </p15:clr>
        </p15:guide>
        <p15:guide id="4" orient="horz" pos="600" userDrawn="1">
          <p15:clr>
            <a:srgbClr val="F26B43"/>
          </p15:clr>
        </p15:guide>
        <p15:guide id="5" orient="horz" pos="3840" userDrawn="1">
          <p15:clr>
            <a:srgbClr val="F26B43"/>
          </p15:clr>
        </p15:guide>
        <p15:guide id="6" orient="horz" pos="84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76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8368" y="1025526"/>
            <a:ext cx="11232000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33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add title</a:t>
            </a:r>
          </a:p>
        </p:txBody>
      </p:sp>
      <p:sp>
        <p:nvSpPr>
          <p:cNvPr id="37376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58853" y="6405563"/>
            <a:ext cx="8638116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ts val="1600"/>
              </a:lnSpc>
              <a:defRPr sz="1107">
                <a:solidFill>
                  <a:schemeClr val="tx1"/>
                </a:solidFill>
              </a:defRPr>
            </a:lvl1pPr>
          </a:lstStyle>
          <a:p>
            <a:r>
              <a:rPr lang="en-GB" altLang="en-US"/>
              <a:t>Introduction of the DARWIN EU® Coordination Centre </a:t>
            </a:r>
          </a:p>
        </p:txBody>
      </p:sp>
      <p:sp>
        <p:nvSpPr>
          <p:cNvPr id="37376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80486" y="6405563"/>
            <a:ext cx="410633" cy="239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ts val="1600"/>
              </a:lnSpc>
              <a:defRPr sz="1107">
                <a:solidFill>
                  <a:schemeClr val="tx1"/>
                </a:solidFill>
              </a:defRPr>
            </a:lvl1pPr>
          </a:lstStyle>
          <a:p>
            <a:fld id="{DB468437-DC6C-443C-8387-7F3DABA73C17}" type="slidenum">
              <a:rPr lang="en-GB" altLang="en-US" smtClean="0"/>
              <a:pPr/>
              <a:t>‹#›</a:t>
            </a:fld>
            <a:endParaRPr lang="en-GB" altLang="en-US"/>
          </a:p>
        </p:txBody>
      </p:sp>
      <p:sp>
        <p:nvSpPr>
          <p:cNvPr id="373768" name="Rectangle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792000" y="6405563"/>
            <a:ext cx="1919816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ts val="1600"/>
              </a:lnSpc>
              <a:defRPr sz="1107">
                <a:solidFill>
                  <a:schemeClr val="tx1"/>
                </a:solidFill>
              </a:defRPr>
            </a:lvl1pPr>
          </a:lstStyle>
          <a:p>
            <a:fld id="{04AB5764-98C1-42BA-BFEF-50F6CCFE58EC}" type="datetime4">
              <a:rPr lang="en-US" altLang="en-US" smtClean="0"/>
              <a:t>July 6, 2025</a:t>
            </a:fld>
            <a:endParaRPr lang="en-GB" altLang="en-US"/>
          </a:p>
        </p:txBody>
      </p:sp>
      <p:sp>
        <p:nvSpPr>
          <p:cNvPr id="373775" name="Rectangle 15"/>
          <p:cNvSpPr>
            <a:spLocks noChangeArrowheads="1"/>
          </p:cNvSpPr>
          <p:nvPr/>
        </p:nvSpPr>
        <p:spPr bwMode="auto">
          <a:xfrm>
            <a:off x="0" y="1"/>
            <a:ext cx="12192000" cy="6731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 sz="2400"/>
          </a:p>
        </p:txBody>
      </p:sp>
      <p:sp>
        <p:nvSpPr>
          <p:cNvPr id="373777" name="Line 17"/>
          <p:cNvSpPr>
            <a:spLocks noChangeShapeType="1"/>
          </p:cNvSpPr>
          <p:nvPr/>
        </p:nvSpPr>
        <p:spPr bwMode="auto">
          <a:xfrm>
            <a:off x="0" y="676275"/>
            <a:ext cx="12192000" cy="1588"/>
          </a:xfrm>
          <a:prstGeom prst="line">
            <a:avLst/>
          </a:prstGeom>
          <a:noFill/>
          <a:ln w="317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2400"/>
          </a:p>
        </p:txBody>
      </p:sp>
      <p:sp>
        <p:nvSpPr>
          <p:cNvPr id="373781" name="Rectangle 2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368" y="2159001"/>
            <a:ext cx="11232000" cy="3959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1E3F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Normal text – Verdana, 15pt regular, ls 21pt, ap 9pt, black.</a:t>
            </a:r>
          </a:p>
          <a:p>
            <a:pPr lvl="1"/>
            <a:r>
              <a:rPr lang="en-GB" altLang="en-US"/>
              <a:t>Title – Verdana, 21pt regular, ls 27pt, blue (0,51,153).</a:t>
            </a:r>
          </a:p>
          <a:p>
            <a:pPr lvl="1"/>
            <a:r>
              <a:rPr lang="en-GB" altLang="en-US"/>
              <a:t>Subtitle – Verdana, 18pt bold (apply manually), ls 27pt, blue (0,51,153).</a:t>
            </a:r>
          </a:p>
          <a:p>
            <a:pPr lvl="1"/>
            <a:r>
              <a:rPr lang="en-GB" altLang="en-US"/>
              <a:t>Bullets level 1 – Verdana, 13.5pt regular, ls 18pt, ap 6pt, black.</a:t>
            </a:r>
          </a:p>
          <a:p>
            <a:pPr lvl="2"/>
            <a:r>
              <a:rPr lang="en-GB" altLang="en-US"/>
              <a:t>Bullets level 2 – Verdana, 12pt regular, ls 18pt, ap 4.5pt, black.</a:t>
            </a:r>
          </a:p>
          <a:p>
            <a:pPr lvl="3"/>
            <a:r>
              <a:rPr lang="en-GB" altLang="en-US"/>
              <a:t>Bullets level 3 – Verdana, 10.5pt regular, ls 15pt, ap 4.5pt, black. NOT RECOMMENDED TO USE BEYOND LEVEL 3</a:t>
            </a:r>
          </a:p>
          <a:p>
            <a:pPr lvl="4"/>
            <a:r>
              <a:rPr lang="en-GB" altLang="en-US"/>
              <a:t>Bullets level 4 – Verdana, 10.5pt regular, ls 15pt, ap 4.5pt, black.</a:t>
            </a:r>
          </a:p>
          <a:p>
            <a:pPr lvl="4"/>
            <a:r>
              <a:rPr lang="en-GB" altLang="en-US"/>
              <a:t>Bullets level 5 – Verdana, 10.5pt regular, ls 15pt, ap 4.5pt, black.</a:t>
            </a:r>
          </a:p>
          <a:p>
            <a:pPr lvl="6"/>
            <a:r>
              <a:rPr lang="en-GB" altLang="en-US"/>
              <a:t>Bullets level 6 – Verdana, 10.5pt regular, ls 15pt, ap 4.5pt, black.</a:t>
            </a:r>
          </a:p>
          <a:p>
            <a:pPr lvl="7"/>
            <a:r>
              <a:rPr lang="en-GB" altLang="en-US"/>
              <a:t>Bullets level 7 – Verdana, 10.5pt regular, ls 15pt, ap 4.5pt, black.</a:t>
            </a:r>
          </a:p>
          <a:p>
            <a:pPr lvl="8"/>
            <a:r>
              <a:rPr lang="en-GB" altLang="en-US"/>
              <a:t>Bullets level 8 – Verdana, 10.5pt regular, ls 15pt, ap 4.5pt, black.</a:t>
            </a:r>
          </a:p>
        </p:txBody>
      </p:sp>
      <p:sp>
        <p:nvSpPr>
          <p:cNvPr id="13" name="Rectangle 15"/>
          <p:cNvSpPr>
            <a:spLocks noChangeArrowheads="1"/>
          </p:cNvSpPr>
          <p:nvPr/>
        </p:nvSpPr>
        <p:spPr bwMode="auto">
          <a:xfrm>
            <a:off x="0" y="6734400"/>
            <a:ext cx="12192000" cy="1248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 sz="2400"/>
          </a:p>
        </p:txBody>
      </p:sp>
      <p:sp>
        <p:nvSpPr>
          <p:cNvPr id="2" name="MSIPCMContentMarking" descr="{&quot;HashCode&quot;:-1620017495,&quot;Placement&quot;:&quot;Footer&quot;,&quot;Top&quot;:523.417664,&quot;Left&quot;:362.8055,&quot;SlideWidth&quot;:960,&quot;SlideHeight&quot;:540}">
            <a:extLst>
              <a:ext uri="{FF2B5EF4-FFF2-40B4-BE49-F238E27FC236}">
                <a16:creationId xmlns:a16="http://schemas.microsoft.com/office/drawing/2014/main" id="{A97859D1-89C1-40A3-AA2A-4BAA55F51F55}"/>
              </a:ext>
            </a:extLst>
          </p:cNvPr>
          <p:cNvSpPr txBox="1"/>
          <p:nvPr userDrawn="1"/>
        </p:nvSpPr>
        <p:spPr>
          <a:xfrm>
            <a:off x="4607630" y="6647404"/>
            <a:ext cx="2976740" cy="21059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700">
                <a:solidFill>
                  <a:srgbClr val="737373"/>
                </a:solidFill>
                <a:latin typeface="Verdana" panose="020B0604030504040204" pitchFamily="34" charset="0"/>
              </a:rPr>
              <a:t>Classified as confidential by the European Medicines Agency 
</a:t>
            </a:r>
            <a:endParaRPr lang="en-NL" sz="700">
              <a:solidFill>
                <a:srgbClr val="737373"/>
              </a:solidFill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1919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6" r:id="rId1"/>
    <p:sldLayoutId id="2147483947" r:id="rId2"/>
    <p:sldLayoutId id="2147483948" r:id="rId3"/>
    <p:sldLayoutId id="2147483949" r:id="rId4"/>
    <p:sldLayoutId id="2147483950" r:id="rId5"/>
    <p:sldLayoutId id="2147483951" r:id="rId6"/>
    <p:sldLayoutId id="2147483952" r:id="rId7"/>
    <p:sldLayoutId id="2147483953" r:id="rId8"/>
    <p:sldLayoutId id="2147483954" r:id="rId9"/>
    <p:sldLayoutId id="2147483955" r:id="rId10"/>
    <p:sldLayoutId id="2147483956" r:id="rId11"/>
    <p:sldLayoutId id="2147483957" r:id="rId12"/>
  </p:sldLayoutIdLst>
  <p:hf hdr="0" ftr="0" dt="0"/>
  <p:txStyles>
    <p:titleStyle>
      <a:lvl1pPr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2pPr>
      <a:lvl3pPr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3pPr>
      <a:lvl4pPr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4pPr>
      <a:lvl5pPr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5pPr>
      <a:lvl6pPr marL="609585"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6pPr>
      <a:lvl7pPr marL="1219170"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7pPr>
      <a:lvl8pPr marL="1828754"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8pPr>
      <a:lvl9pPr marL="2438339" algn="l" rtl="0" eaLnBrk="1" fontAlgn="base" hangingPunct="1">
        <a:lnSpc>
          <a:spcPts val="48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Verdana" pitchFamily="34" charset="0"/>
          <a:cs typeface="Arial" charset="0"/>
        </a:defRPr>
      </a:lvl9pPr>
    </p:titleStyle>
    <p:bodyStyle>
      <a:lvl1pPr algn="l" defTabSz="10762982" rtl="0" eaLnBrk="1" fontAlgn="base" hangingPunct="1">
        <a:lnSpc>
          <a:spcPts val="2800"/>
        </a:lnSpc>
        <a:spcBef>
          <a:spcPct val="0"/>
        </a:spcBef>
        <a:spcAft>
          <a:spcPts val="1200"/>
        </a:spcAft>
        <a:buClr>
          <a:srgbClr val="000000"/>
        </a:buClr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357708" indent="-355591" algn="l" defTabSz="10762982" rtl="0" eaLnBrk="1" fontAlgn="base" hangingPunct="1">
        <a:lnSpc>
          <a:spcPts val="2400"/>
        </a:lnSpc>
        <a:spcBef>
          <a:spcPct val="0"/>
        </a:spcBef>
        <a:spcAft>
          <a:spcPts val="800"/>
        </a:spcAft>
        <a:buClr>
          <a:schemeClr val="tx1"/>
        </a:buClr>
        <a:buChar char="•"/>
        <a:defRPr sz="1800">
          <a:solidFill>
            <a:schemeClr val="tx1"/>
          </a:solidFill>
          <a:latin typeface="+mn-lt"/>
          <a:cs typeface="+mn-cs"/>
        </a:defRPr>
      </a:lvl2pPr>
      <a:lvl3pPr marL="696367" indent="-309026" algn="l" defTabSz="10762982" rtl="0" eaLnBrk="1" fontAlgn="base" hangingPunct="1">
        <a:lnSpc>
          <a:spcPts val="24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026558" indent="-292093" algn="l" defTabSz="10762982" rtl="0" eaLnBrk="1" fontAlgn="base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•"/>
        <a:defRPr sz="1400">
          <a:solidFill>
            <a:schemeClr val="tx1"/>
          </a:solidFill>
          <a:latin typeface="+mn-lt"/>
          <a:cs typeface="+mn-cs"/>
        </a:defRPr>
      </a:lvl4pPr>
      <a:lvl5pPr marL="1354633" marR="0" indent="-300559" algn="l" defTabSz="10762982" rtl="0" eaLnBrk="1" fontAlgn="base" latinLnBrk="0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SzTx/>
        <a:buFont typeface="Verdana" pitchFamily="34" charset="0"/>
        <a:buChar char="–"/>
        <a:tabLst/>
        <a:defRPr sz="1400">
          <a:solidFill>
            <a:schemeClr val="tx1"/>
          </a:solidFill>
          <a:latin typeface="+mn-lt"/>
          <a:cs typeface="+mn-cs"/>
        </a:defRPr>
      </a:lvl5pPr>
      <a:lvl6pPr marL="1352517" indent="-302392" algn="l" defTabSz="10762982" rtl="0" eaLnBrk="1" fontAlgn="base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–"/>
        <a:defRPr lang="en-GB" altLang="en-US" sz="1400" smtClean="0">
          <a:solidFill>
            <a:schemeClr val="tx1"/>
          </a:solidFill>
          <a:latin typeface="+mn-lt"/>
          <a:cs typeface="+mn-cs"/>
        </a:defRPr>
      </a:lvl6pPr>
      <a:lvl7pPr marL="1353566" indent="-300559" algn="l" defTabSz="10762982" rtl="0" eaLnBrk="1" fontAlgn="base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7pPr>
      <a:lvl8pPr marL="1353566" indent="-300559" algn="l" defTabSz="10762982" rtl="0" eaLnBrk="1" fontAlgn="base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8pPr>
      <a:lvl9pPr marL="1353566" indent="-300559" algn="l" defTabSz="10762982" rtl="0" eaLnBrk="1" fontAlgn="base" hangingPunct="1">
        <a:lnSpc>
          <a:spcPts val="2000"/>
        </a:lnSpc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2">
            <a:extLst>
              <a:ext uri="{FF2B5EF4-FFF2-40B4-BE49-F238E27FC236}">
                <a16:creationId xmlns:a16="http://schemas.microsoft.com/office/drawing/2014/main" id="{71076380-9674-4FAE-9F6D-297DFBBA8F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59986" lvl="0">
              <a:buClr>
                <a:srgbClr val="40387C"/>
              </a:buClr>
              <a:buFont typeface="Century Gothic" panose="020B0502020202020204" pitchFamily="34" charset="0"/>
              <a:buChar char="■"/>
            </a:pPr>
            <a:r>
              <a:rPr lang="nl-NL"/>
              <a:t>Tekststijl van het model bewerken</a:t>
            </a:r>
          </a:p>
          <a:p>
            <a:pPr marL="719971" lvl="1">
              <a:buClr>
                <a:srgbClr val="EEA41F"/>
              </a:buClr>
              <a:buFont typeface="Century Gothic" panose="020B0502020202020204" pitchFamily="34" charset="0"/>
              <a:buChar char="■"/>
            </a:pPr>
            <a:r>
              <a:rPr lang="nl-NL"/>
              <a:t>Tweede niveau</a:t>
            </a:r>
          </a:p>
          <a:p>
            <a:pPr marL="1079957" lvl="2">
              <a:buClr>
                <a:srgbClr val="92327C"/>
              </a:buClr>
              <a:buFont typeface="Century Gothic" panose="020B0502020202020204" pitchFamily="34" charset="0"/>
              <a:buChar char="■"/>
            </a:pPr>
            <a:r>
              <a:rPr lang="nl-NL"/>
              <a:t>Derde niveau</a:t>
            </a:r>
          </a:p>
          <a:p>
            <a:pPr marL="1439942" lvl="3">
              <a:buClr>
                <a:srgbClr val="56B1CA"/>
              </a:buClr>
              <a:buFont typeface="Century Gothic" panose="020B0502020202020204" pitchFamily="34" charset="0"/>
              <a:buChar char="■"/>
            </a:pPr>
            <a:r>
              <a:rPr lang="nl-NL"/>
              <a:t>Vierde niveau</a:t>
            </a:r>
          </a:p>
          <a:p>
            <a:pPr marL="1799928" lvl="4">
              <a:buClr>
                <a:srgbClr val="E91D25"/>
              </a:buClr>
              <a:buFont typeface="Century Gothic" panose="020B0502020202020204" pitchFamily="34" charset="0"/>
              <a:buChar char="■"/>
            </a:pPr>
            <a:r>
              <a:rPr lang="nl-NL"/>
              <a:t>Vijfde niveau</a:t>
            </a:r>
          </a:p>
          <a:p>
            <a:pPr marL="1799928" lvl="4">
              <a:buClr>
                <a:srgbClr val="E91D25"/>
              </a:buClr>
              <a:buFont typeface="Century Gothic" panose="020B0502020202020204" pitchFamily="34" charset="0"/>
              <a:buChar char="■"/>
            </a:pP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555877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7" r:id="rId7"/>
    <p:sldLayoutId id="2147483969" r:id="rId8"/>
    <p:sldLayoutId id="2147483970" r:id="rId9"/>
    <p:sldLayoutId id="2147483971" r:id="rId10"/>
  </p:sldLayoutIdLst>
  <p:hf hdr="0" ftr="0" dt="0"/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1" indent="-228591" algn="l" defTabSz="91436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nl-NL" sz="24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77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nl-NL" sz="20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142954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nl-NL" sz="18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600136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nl-NL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057318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nl-BE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499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7B88F24-16BE-DCE5-CBE9-6A2ADD7B71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AF7776-79D7-1AEF-8068-FAC2509B8F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55D467-F6B7-6BA4-1A48-25E21627A9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EA13DF-0BBC-4BC4-8EDB-FA719E4792F1}" type="datetimeFigureOut">
              <a:rPr lang="en-GB" smtClean="0"/>
              <a:t>06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7319FF-230F-583C-3057-B1CBB54B6E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43AD34-E8F5-B79C-124B-92403BBF5B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880B44-6CF8-4348-AB41-2741AC8E9B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4298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3981" r:id="rId9"/>
    <p:sldLayoutId id="2147483982" r:id="rId10"/>
    <p:sldLayoutId id="2147483983" r:id="rId11"/>
    <p:sldLayoutId id="2147483984" r:id="rId12"/>
  </p:sldLayoutIdLst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1" indent="-228591" algn="l" defTabSz="91436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7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4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6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18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9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50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9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53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2">
            <a:extLst>
              <a:ext uri="{FF2B5EF4-FFF2-40B4-BE49-F238E27FC236}">
                <a16:creationId xmlns:a16="http://schemas.microsoft.com/office/drawing/2014/main" id="{E80B3740-46D8-44E5-A6EB-90FBD8264117}"/>
              </a:ext>
            </a:extLst>
          </p:cNvPr>
          <p:cNvSpPr txBox="1">
            <a:spLocks/>
          </p:cNvSpPr>
          <p:nvPr/>
        </p:nvSpPr>
        <p:spPr bwMode="auto">
          <a:xfrm>
            <a:off x="335361" y="2797401"/>
            <a:ext cx="10261679" cy="1686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33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 sz="19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2pPr>
            <a:lvl3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3pPr>
            <a:lvl4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4pPr>
            <a:lvl5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9pPr>
          </a:lstStyle>
          <a:p>
            <a:pPr defTabSz="1219170">
              <a:lnSpc>
                <a:spcPts val="2800"/>
              </a:lnSpc>
            </a:pPr>
            <a:r>
              <a:rPr lang="en-US" sz="2667" dirty="0">
                <a:solidFill>
                  <a:srgbClr val="003399"/>
                </a:solidFill>
                <a:latin typeface="Verdana"/>
                <a:cs typeface="Arial"/>
              </a:rPr>
              <a:t>Introduction to </a:t>
            </a:r>
            <a:r>
              <a:rPr lang="en-US" sz="2667" dirty="0" err="1">
                <a:solidFill>
                  <a:srgbClr val="003399"/>
                </a:solidFill>
                <a:latin typeface="Verdana"/>
                <a:cs typeface="Arial"/>
              </a:rPr>
              <a:t>Standardised</a:t>
            </a:r>
            <a:r>
              <a:rPr lang="en-US" sz="2667" dirty="0">
                <a:solidFill>
                  <a:srgbClr val="003399"/>
                </a:solidFill>
                <a:latin typeface="Verdana"/>
                <a:cs typeface="Arial"/>
              </a:rPr>
              <a:t> </a:t>
            </a:r>
          </a:p>
          <a:p>
            <a:pPr defTabSz="1219170">
              <a:lnSpc>
                <a:spcPts val="2800"/>
              </a:lnSpc>
            </a:pPr>
            <a:r>
              <a:rPr lang="en-US" sz="2667" dirty="0" err="1">
                <a:solidFill>
                  <a:srgbClr val="003399"/>
                </a:solidFill>
                <a:latin typeface="Verdana"/>
                <a:cs typeface="Arial"/>
              </a:rPr>
              <a:t>Characterisation</a:t>
            </a:r>
            <a:r>
              <a:rPr lang="en-US" sz="2667" dirty="0">
                <a:solidFill>
                  <a:srgbClr val="003399"/>
                </a:solidFill>
                <a:latin typeface="Verdana"/>
                <a:cs typeface="Arial"/>
              </a:rPr>
              <a:t> Studies in DARWIN EU</a:t>
            </a:r>
            <a:endParaRPr lang="en-GB" sz="2667" kern="0" dirty="0">
              <a:solidFill>
                <a:srgbClr val="003399"/>
              </a:solidFill>
              <a:latin typeface="Verdana"/>
              <a:cs typeface="Arial"/>
            </a:endParaRPr>
          </a:p>
        </p:txBody>
      </p:sp>
      <p:pic>
        <p:nvPicPr>
          <p:cNvPr id="2" name="Picture 2" descr="Darwin EU logo">
            <a:extLst>
              <a:ext uri="{FF2B5EF4-FFF2-40B4-BE49-F238E27FC236}">
                <a16:creationId xmlns:a16="http://schemas.microsoft.com/office/drawing/2014/main" id="{09B03D2E-27AC-4554-B160-E8C105112D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0868" y="2555591"/>
            <a:ext cx="3072341" cy="1260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C69099A-284E-802C-598B-99BE47721388}"/>
              </a:ext>
            </a:extLst>
          </p:cNvPr>
          <p:cNvSpPr txBox="1"/>
          <p:nvPr/>
        </p:nvSpPr>
        <p:spPr>
          <a:xfrm>
            <a:off x="555171" y="4876800"/>
            <a:ext cx="35475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ni Prieto-Alhambra</a:t>
            </a:r>
          </a:p>
          <a:p>
            <a:r>
              <a:rPr lang="en-US" dirty="0"/>
              <a:t>Deputy Director, DARWIN EU</a:t>
            </a:r>
          </a:p>
        </p:txBody>
      </p:sp>
    </p:spTree>
    <p:extLst>
      <p:ext uri="{BB962C8B-B14F-4D97-AF65-F5344CB8AC3E}">
        <p14:creationId xmlns:p14="http://schemas.microsoft.com/office/powerpoint/2010/main" val="16232683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F72EE6-B937-7FC7-26BB-80312C6078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528A20-4AF6-B7F9-7274-4B45D90609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218956"/>
            <a:ext cx="11232000" cy="950913"/>
          </a:xfrm>
        </p:spPr>
        <p:txBody>
          <a:bodyPr/>
          <a:lstStyle/>
          <a:p>
            <a:r>
              <a:rPr lang="en-GB" sz="3600" dirty="0">
                <a:solidFill>
                  <a:schemeClr val="bg1"/>
                </a:solidFill>
              </a:rPr>
              <a:t>Building the tools</a:t>
            </a:r>
            <a:r>
              <a:rPr lang="en-GB" dirty="0"/>
              <a:t>: </a:t>
            </a:r>
            <a:br>
              <a:rPr lang="en-GB" dirty="0"/>
            </a:br>
            <a:r>
              <a:rPr lang="en-GB" dirty="0"/>
              <a:t>Developing OMOP-Std Analytical Pipelin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9836A81-AFF6-16E3-6740-CD6FE81F240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858" y="1986689"/>
            <a:ext cx="6545914" cy="158317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DFAAA5B-D323-C773-BDD8-F28FAFD64DC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858" y="3595098"/>
            <a:ext cx="6545914" cy="1583178"/>
          </a:xfrm>
          <a:prstGeom prst="rect">
            <a:avLst/>
          </a:prstGeom>
        </p:spPr>
      </p:pic>
      <p:pic>
        <p:nvPicPr>
          <p:cNvPr id="12" name="Picture 11" descr="A picture containing text&#10;&#10;Description automatically generated">
            <a:extLst>
              <a:ext uri="{FF2B5EF4-FFF2-40B4-BE49-F238E27FC236}">
                <a16:creationId xmlns:a16="http://schemas.microsoft.com/office/drawing/2014/main" id="{727C56C0-5D64-13CE-304C-081C2D5706F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7606" y="2630298"/>
            <a:ext cx="4404344" cy="19296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2270B03-0C56-27F6-10EA-40D0632CF1A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79" r="40031" b="72032"/>
          <a:stretch>
            <a:fillRect/>
          </a:stretch>
        </p:blipFill>
        <p:spPr>
          <a:xfrm>
            <a:off x="2907815" y="5397589"/>
            <a:ext cx="6545915" cy="62273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7E9FC63-7224-D2ED-E7F0-E860568F696E}"/>
              </a:ext>
            </a:extLst>
          </p:cNvPr>
          <p:cNvSpPr txBox="1"/>
          <p:nvPr/>
        </p:nvSpPr>
        <p:spPr>
          <a:xfrm>
            <a:off x="1144885" y="5478125"/>
            <a:ext cx="15933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ODAY …</a:t>
            </a:r>
          </a:p>
        </p:txBody>
      </p:sp>
    </p:spTree>
    <p:extLst>
      <p:ext uri="{BB962C8B-B14F-4D97-AF65-F5344CB8AC3E}">
        <p14:creationId xmlns:p14="http://schemas.microsoft.com/office/powerpoint/2010/main" val="2714687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F4EEBE-F616-F10B-95F2-76470FDBAA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tS</a:t>
            </a:r>
            <a:r>
              <a:rPr lang="en-US" dirty="0"/>
              <a:t> </a:t>
            </a:r>
            <a:r>
              <a:rPr lang="en-US" dirty="0" err="1"/>
              <a:t>Characterisation</a:t>
            </a:r>
            <a:r>
              <a:rPr lang="en-US" dirty="0"/>
              <a:t> in DARWIN EU®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FFDAC-1771-4F2C-DEF6-6BB1E1A8FC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8368" y="1873249"/>
            <a:ext cx="11232000" cy="3959225"/>
          </a:xfrm>
        </p:spPr>
        <p:txBody>
          <a:bodyPr/>
          <a:lstStyle/>
          <a:p>
            <a:r>
              <a:rPr lang="en-GB" b="1" dirty="0"/>
              <a:t>Study Design</a:t>
            </a:r>
          </a:p>
          <a:p>
            <a:r>
              <a:rPr lang="en-GB" dirty="0"/>
              <a:t>Cohort analysis</a:t>
            </a:r>
          </a:p>
          <a:p>
            <a:endParaRPr lang="en-GB" dirty="0"/>
          </a:p>
          <a:p>
            <a:r>
              <a:rPr lang="en-GB" b="1" dirty="0"/>
              <a:t>Participant/s</a:t>
            </a:r>
          </a:p>
          <a:p>
            <a:r>
              <a:rPr lang="en-GB" dirty="0"/>
              <a:t>Cohort/s newly diagnosed with 1 or more pre-specified condition/s </a:t>
            </a:r>
          </a:p>
          <a:p>
            <a:r>
              <a:rPr lang="en-GB" dirty="0"/>
              <a:t>+ with some amount of data visibility before diagnosis</a:t>
            </a:r>
          </a:p>
          <a:p>
            <a:r>
              <a:rPr lang="en-GB" dirty="0"/>
              <a:t>+ no record of the same condition/s in the previous year (or in all previous history)</a:t>
            </a:r>
          </a:p>
          <a:p>
            <a:r>
              <a:rPr lang="en-GB" dirty="0"/>
              <a:t>Additional eligibility criteria could apply 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374835-0565-4F0F-3AFB-CFB7E89101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A35A6-B5A8-45D2-AF41-3455EF53F7BA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30256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05F501-0C71-B15E-C50C-BE53A7A7B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tS</a:t>
            </a:r>
            <a:r>
              <a:rPr lang="en-US" dirty="0"/>
              <a:t> </a:t>
            </a:r>
            <a:r>
              <a:rPr lang="en-US" dirty="0" err="1"/>
              <a:t>Characterisation</a:t>
            </a:r>
            <a:r>
              <a:rPr lang="en-US" dirty="0"/>
              <a:t> in DARWIN EU® (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B95431-E264-B0D4-4211-A93CD914EB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/>
              <a:t>Follow-up</a:t>
            </a:r>
          </a:p>
          <a:p>
            <a:endParaRPr lang="en-GB" b="1" dirty="0"/>
          </a:p>
          <a:p>
            <a:r>
              <a:rPr lang="en-GB" dirty="0"/>
              <a:t>From their date of new diagnosis (index date) until the earliest of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loss to follow-up,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end of data availability,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 pre-specified time period (e.g. 1 year after index date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or death (or exit date)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9C1BEC-D6C8-F052-0EF3-E5AE17AD7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A35A6-B5A8-45D2-AF41-3455EF53F7BA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27748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095211-8C43-75BC-38C5-C0620A6180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B0627E-11A4-6152-D172-468C05B94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tS</a:t>
            </a:r>
            <a:r>
              <a:rPr lang="en-US" dirty="0"/>
              <a:t> </a:t>
            </a:r>
            <a:r>
              <a:rPr lang="en-US" dirty="0" err="1"/>
              <a:t>Characterisation</a:t>
            </a:r>
            <a:r>
              <a:rPr lang="en-US" dirty="0"/>
              <a:t> in DARWIN EU® (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316AB9-9806-F8F0-A5CC-8D5E6DFAF4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/>
              <a:t>Analyses</a:t>
            </a:r>
          </a:p>
          <a:p>
            <a:endParaRPr lang="en-GB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utomated large-scale characterisation, including all recorded baseline characteristics available in the data before or on index da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Pre-specified patient-level characteristics on and/or before index date, based on pre-existing phenotypes (e.g., history of type 2 diabetes, or Charlson comorbidity index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ncidence rate/s of pre-specified outcome/s within a time period (e.g. 1 year)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FD2E68-8A99-5EC6-665D-8EA8C62F3D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F3BFAF-571F-CED8-A54E-44F0F9C0D5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A35A6-B5A8-45D2-AF41-3455EF53F7BA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72577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A0DA36-1E1D-C9F8-683B-9F1C09630D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F4DABD-BF93-6C58-295B-C87ABF7107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tS</a:t>
            </a:r>
            <a:r>
              <a:rPr lang="en-US" dirty="0"/>
              <a:t> </a:t>
            </a:r>
            <a:r>
              <a:rPr lang="en-US" dirty="0" err="1"/>
              <a:t>Characterisation</a:t>
            </a:r>
            <a:r>
              <a:rPr lang="en-US" dirty="0"/>
              <a:t> in DARWIN EU® (4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C47F34-1FCC-E63D-98EA-216E942ABF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/>
              <a:t>Analyses</a:t>
            </a:r>
          </a:p>
          <a:p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urvival / progression to a pre-specified outcome within a pre-specified time, e.g., cumulative incidence of certain events or death within 1- or 5-years after </a:t>
            </a:r>
            <a:r>
              <a:rPr lang="en-GB" dirty="0" err="1"/>
              <a:t>dgn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tandard care description, aka Treatment patterns including:</a:t>
            </a:r>
          </a:p>
          <a:p>
            <a:pPr marL="700608" lvl="1" indent="-342900">
              <a:buFont typeface="Arial" panose="020B0604020202020204" pitchFamily="34" charset="0"/>
              <a:buChar char="•"/>
            </a:pPr>
            <a:r>
              <a:rPr lang="en-GB" dirty="0"/>
              <a:t>n (%) receiving each of a pre-specified list of medicine/s, device/s or procedure/s</a:t>
            </a:r>
          </a:p>
          <a:p>
            <a:pPr marL="700608" lvl="1" indent="-342900">
              <a:buFont typeface="Arial" panose="020B0604020202020204" pitchFamily="34" charset="0"/>
              <a:buChar char="•"/>
            </a:pPr>
            <a:r>
              <a:rPr lang="en-GB" dirty="0"/>
              <a:t>+ combinations within a pre-specified time windo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01804D-BB90-8EA3-F1A3-DB8376DC47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A20118-072E-D598-4833-4F6C6BB349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A35A6-B5A8-45D2-AF41-3455EF53F7BA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09821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AD92A-EB58-F1FC-DBB9-D161E877C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GOALS TODA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6CF660-9A3B-B181-C4EE-59EC586828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Learn how to use DARWIN EU® tools to:</a:t>
            </a:r>
          </a:p>
          <a:p>
            <a:pPr marL="457200" indent="-457200">
              <a:buFont typeface="+mj-lt"/>
              <a:buAutoNum type="arabicPeriod"/>
            </a:pPr>
            <a:endParaRPr lang="en-US" sz="2800" dirty="0"/>
          </a:p>
          <a:p>
            <a:pPr marL="814908" lvl="1" indent="-457200">
              <a:buFont typeface="+mj-lt"/>
              <a:buAutoNum type="arabicPeriod"/>
            </a:pPr>
            <a:r>
              <a:rPr lang="en-US" sz="2400" dirty="0"/>
              <a:t>Create a condition-based cohort</a:t>
            </a:r>
          </a:p>
          <a:p>
            <a:pPr marL="814908" lvl="1" indent="-457200">
              <a:buFont typeface="+mj-lt"/>
              <a:buAutoNum type="arabicPeriod"/>
            </a:pPr>
            <a:r>
              <a:rPr lang="en-US" sz="2400" dirty="0" err="1"/>
              <a:t>Characterise</a:t>
            </a:r>
            <a:r>
              <a:rPr lang="en-US" sz="2400" dirty="0"/>
              <a:t> the resulting cohort</a:t>
            </a:r>
          </a:p>
          <a:p>
            <a:pPr marL="814908" lvl="1" indent="-457200">
              <a:buFont typeface="+mj-lt"/>
              <a:buAutoNum type="arabicPeriod"/>
            </a:pPr>
            <a:r>
              <a:rPr lang="en-US" sz="2400" dirty="0"/>
              <a:t>Study treatment patterns for subjects with the disease of intere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477AB5-8628-7ED6-A29F-F5557E8925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5A39AD-4449-655F-3E0A-9E35C873F8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A35A6-B5A8-45D2-AF41-3455EF53F7BA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755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ky, outdoor, building, tower&#10;&#10;Description automatically generated">
            <a:extLst>
              <a:ext uri="{FF2B5EF4-FFF2-40B4-BE49-F238E27FC236}">
                <a16:creationId xmlns:a16="http://schemas.microsoft.com/office/drawing/2014/main" id="{E29317AB-4BC0-7D87-24B0-B4CBDE2DA0A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368"/>
          <a:stretch/>
        </p:blipFill>
        <p:spPr>
          <a:xfrm>
            <a:off x="1626250" y="10"/>
            <a:ext cx="9270806" cy="6857990"/>
          </a:xfrm>
          <a:custGeom>
            <a:avLst/>
            <a:gdLst/>
            <a:ahLst/>
            <a:cxnLst/>
            <a:rect l="l" t="t" r="r" b="b"/>
            <a:pathLst>
              <a:path w="9270806" h="6858000">
                <a:moveTo>
                  <a:pt x="1503712" y="0"/>
                </a:moveTo>
                <a:lnTo>
                  <a:pt x="7767094" y="0"/>
                </a:lnTo>
                <a:lnTo>
                  <a:pt x="7913128" y="139721"/>
                </a:lnTo>
                <a:cubicBezTo>
                  <a:pt x="8751971" y="981521"/>
                  <a:pt x="9270806" y="2144457"/>
                  <a:pt x="9270806" y="3429000"/>
                </a:cubicBezTo>
                <a:cubicBezTo>
                  <a:pt x="9270806" y="4713544"/>
                  <a:pt x="8751971" y="5876479"/>
                  <a:pt x="7913128" y="6718279"/>
                </a:cubicBezTo>
                <a:lnTo>
                  <a:pt x="7767094" y="6858000"/>
                </a:lnTo>
                <a:lnTo>
                  <a:pt x="1503712" y="6858000"/>
                </a:lnTo>
                <a:lnTo>
                  <a:pt x="1357679" y="6718279"/>
                </a:lnTo>
                <a:cubicBezTo>
                  <a:pt x="518835" y="5876479"/>
                  <a:pt x="0" y="4713544"/>
                  <a:pt x="0" y="3429000"/>
                </a:cubicBezTo>
                <a:cubicBezTo>
                  <a:pt x="0" y="2144457"/>
                  <a:pt x="518835" y="981521"/>
                  <a:pt x="1357679" y="139721"/>
                </a:cubicBezTo>
                <a:close/>
              </a:path>
            </a:pathLst>
          </a:cu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8DE5EF4-7EFA-A3C2-BA8D-08BDB12484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444583ED-F364-40B3-B25B-483B5033DF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301296-15A5-5CC6-579D-8021B67741D2}"/>
              </a:ext>
            </a:extLst>
          </p:cNvPr>
          <p:cNvSpPr txBox="1"/>
          <p:nvPr/>
        </p:nvSpPr>
        <p:spPr>
          <a:xfrm>
            <a:off x="5281684" y="1152939"/>
            <a:ext cx="488604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ESTIONS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.prietoalhambra@darwin-eu.org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31097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F7142F-3887-0943-9E76-C681B660CE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8" y="1025526"/>
            <a:ext cx="11232000" cy="950913"/>
          </a:xfrm>
        </p:spPr>
        <p:txBody>
          <a:bodyPr/>
          <a:lstStyle/>
          <a:p>
            <a:r>
              <a:rPr lang="en-NL"/>
              <a:t>Disclos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46646F-1C5E-9247-8D38-56D151DC9F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sz="2400" dirty="0"/>
              <a:t>This whole workshop and all the included presentations represent the views and knowledge of the presenters (members of the DARWIN EU® Coordination Centre) and cannot be interpreted as reflecting those of the European Medicines Agency or the European Medicines Regulatory Network.</a:t>
            </a:r>
            <a:r>
              <a:rPr lang="en-NL" sz="2400"/>
              <a:t> </a:t>
            </a:r>
            <a:endParaRPr lang="en-US" altLang="en-US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0C6775-FED1-B1F2-3663-16A0646BA3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468437-DC6C-443C-8387-7F3DABA73C17}" type="slidenum">
              <a:rPr kumimoji="0" lang="en-GB" altLang="en-US" sz="1107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pPr marL="0" marR="0" lvl="0" indent="0" algn="l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altLang="en-US" sz="110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569782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532DA1-33BF-9D9D-50AB-A9D11DB8C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THE CHALLENGE:</a:t>
            </a:r>
            <a:br>
              <a:rPr lang="en-GB" sz="2400" dirty="0"/>
            </a:br>
            <a:br>
              <a:rPr lang="en-GB" sz="2400" dirty="0"/>
            </a:br>
            <a:r>
              <a:rPr lang="en-GB" sz="2400" dirty="0"/>
              <a:t>Scaling up the g</a:t>
            </a:r>
            <a:r>
              <a:rPr lang="en-NL" sz="2400"/>
              <a:t>enerati</a:t>
            </a:r>
            <a:r>
              <a:rPr lang="en-GB" sz="2400" dirty="0"/>
              <a:t>on of</a:t>
            </a:r>
            <a:r>
              <a:rPr lang="en-NL" sz="2400"/>
              <a:t> Real-World Evidence (RWE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823636-4302-78E3-867B-8682A15EFAD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6405563"/>
            <a:ext cx="409575" cy="239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lnSpc>
                <a:spcPts val="1600"/>
              </a:lnSpc>
              <a:defRPr sz="110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A0FAAC-E39B-4479-B08E-E201E90F7F69}" type="slidenum">
              <a:rPr lang="en-GB" altLang="en-US" smtClean="0"/>
              <a:pPr marL="0" marR="0" lvl="0" indent="0" algn="l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altLang="en-US" sz="110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EEBC7E8-75F3-E599-97E1-5FED98664468}"/>
              </a:ext>
            </a:extLst>
          </p:cNvPr>
          <p:cNvSpPr txBox="1">
            <a:spLocks/>
          </p:cNvSpPr>
          <p:nvPr/>
        </p:nvSpPr>
        <p:spPr>
          <a:xfrm>
            <a:off x="478368" y="2460110"/>
            <a:ext cx="5211232" cy="1532770"/>
          </a:xfrm>
          <a:prstGeom prst="rect">
            <a:avLst/>
          </a:prstGeom>
          <a:solidFill>
            <a:srgbClr val="D7D7D7"/>
          </a:solidFill>
        </p:spPr>
        <p:txBody>
          <a:bodyPr/>
          <a:lstStyle>
            <a:lvl1pPr algn="l" defTabSz="10762982" rtl="0" eaLnBrk="1" fontAlgn="base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708" indent="-355591" algn="l" defTabSz="10762982" rtl="0" eaLnBrk="1" fontAlgn="base" hangingPunct="1">
              <a:lnSpc>
                <a:spcPts val="2400"/>
              </a:lnSpc>
              <a:spcBef>
                <a:spcPct val="0"/>
              </a:spcBef>
              <a:spcAft>
                <a:spcPts val="800"/>
              </a:spcAft>
              <a:buClr>
                <a:schemeClr val="tx1"/>
              </a:buClr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2pPr>
            <a:lvl3pPr marL="696367" indent="-309026" algn="l" defTabSz="10762982" rtl="0" eaLnBrk="1" fontAlgn="base" hangingPunct="1">
              <a:lnSpc>
                <a:spcPts val="24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026558" indent="-292093" algn="l" defTabSz="10762982" rtl="0" eaLnBrk="1" fontAlgn="base" hangingPunct="1">
              <a:lnSpc>
                <a:spcPts val="2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+mn-lt"/>
                <a:cs typeface="+mn-cs"/>
              </a:defRPr>
            </a:lvl4pPr>
            <a:lvl5pPr marL="1354633" marR="0" indent="-300559" algn="l" defTabSz="10762982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Tx/>
              <a:buFont typeface="Verdana" pitchFamily="34" charset="0"/>
              <a:buChar char="–"/>
              <a:tabLst/>
              <a:defRPr sz="1400">
                <a:solidFill>
                  <a:schemeClr val="tx1"/>
                </a:solidFill>
                <a:latin typeface="+mn-lt"/>
                <a:cs typeface="+mn-cs"/>
              </a:defRPr>
            </a:lvl5pPr>
            <a:lvl6pPr marL="1352517" indent="-302392" algn="l" defTabSz="10762982" rtl="0" eaLnBrk="1" fontAlgn="base" hangingPunct="1">
              <a:lnSpc>
                <a:spcPts val="2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lang="en-GB" altLang="en-US" sz="1400" smtClean="0">
                <a:solidFill>
                  <a:schemeClr val="tx1"/>
                </a:solidFill>
                <a:latin typeface="+mn-lt"/>
                <a:cs typeface="+mn-cs"/>
              </a:defRPr>
            </a:lvl6pPr>
            <a:lvl7pPr marL="1353566" indent="-300559" algn="l" defTabSz="10762982" rtl="0" eaLnBrk="1" fontAlgn="base" hangingPunct="1">
              <a:lnSpc>
                <a:spcPts val="2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1353566" indent="-300559" algn="l" defTabSz="10762982" rtl="0" eaLnBrk="1" fontAlgn="base" hangingPunct="1">
              <a:lnSpc>
                <a:spcPts val="2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1353566" indent="-300559" algn="l" defTabSz="10762982" rtl="0" eaLnBrk="1" fontAlgn="base" hangingPunct="1">
              <a:lnSpc>
                <a:spcPts val="2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Real-World Data (RWD): 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routinely collected 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data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 relating to 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patient health status 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or the 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delivery of health care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 from a variety of sources other than traditional clinical trial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15B62B3-1359-D5C0-5BDC-29C5C3E99E60}"/>
              </a:ext>
            </a:extLst>
          </p:cNvPr>
          <p:cNvSpPr txBox="1">
            <a:spLocks/>
          </p:cNvSpPr>
          <p:nvPr/>
        </p:nvSpPr>
        <p:spPr>
          <a:xfrm>
            <a:off x="7786565" y="2460110"/>
            <a:ext cx="3620808" cy="1532770"/>
          </a:xfrm>
          <a:prstGeom prst="rect">
            <a:avLst/>
          </a:prstGeom>
          <a:solidFill>
            <a:srgbClr val="D7D7D7"/>
          </a:solidFill>
        </p:spPr>
        <p:txBody>
          <a:bodyPr/>
          <a:lstStyle>
            <a:lvl1pPr algn="l" defTabSz="10762982" rtl="0" eaLnBrk="1" fontAlgn="base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708" indent="-355591" algn="l" defTabSz="10762982" rtl="0" eaLnBrk="1" fontAlgn="base" hangingPunct="1">
              <a:lnSpc>
                <a:spcPts val="2400"/>
              </a:lnSpc>
              <a:spcBef>
                <a:spcPct val="0"/>
              </a:spcBef>
              <a:spcAft>
                <a:spcPts val="800"/>
              </a:spcAft>
              <a:buClr>
                <a:schemeClr val="tx1"/>
              </a:buClr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2pPr>
            <a:lvl3pPr marL="696367" indent="-309026" algn="l" defTabSz="10762982" rtl="0" eaLnBrk="1" fontAlgn="base" hangingPunct="1">
              <a:lnSpc>
                <a:spcPts val="24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026558" indent="-292093" algn="l" defTabSz="10762982" rtl="0" eaLnBrk="1" fontAlgn="base" hangingPunct="1">
              <a:lnSpc>
                <a:spcPts val="2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+mn-lt"/>
                <a:cs typeface="+mn-cs"/>
              </a:defRPr>
            </a:lvl4pPr>
            <a:lvl5pPr marL="1354633" marR="0" indent="-300559" algn="l" defTabSz="10762982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Tx/>
              <a:buFont typeface="Verdana" pitchFamily="34" charset="0"/>
              <a:buChar char="–"/>
              <a:tabLst/>
              <a:defRPr sz="1400">
                <a:solidFill>
                  <a:schemeClr val="tx1"/>
                </a:solidFill>
                <a:latin typeface="+mn-lt"/>
                <a:cs typeface="+mn-cs"/>
              </a:defRPr>
            </a:lvl5pPr>
            <a:lvl6pPr marL="1352517" indent="-302392" algn="l" defTabSz="10762982" rtl="0" eaLnBrk="1" fontAlgn="base" hangingPunct="1">
              <a:lnSpc>
                <a:spcPts val="2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lang="en-GB" altLang="en-US" sz="1400" smtClean="0">
                <a:solidFill>
                  <a:schemeClr val="tx1"/>
                </a:solidFill>
                <a:latin typeface="+mn-lt"/>
                <a:cs typeface="+mn-cs"/>
              </a:defRPr>
            </a:lvl6pPr>
            <a:lvl7pPr marL="1353566" indent="-300559" algn="l" defTabSz="10762982" rtl="0" eaLnBrk="1" fontAlgn="base" hangingPunct="1">
              <a:lnSpc>
                <a:spcPts val="2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1353566" indent="-300559" algn="l" defTabSz="10762982" rtl="0" eaLnBrk="1" fontAlgn="base" hangingPunct="1">
              <a:lnSpc>
                <a:spcPts val="2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1353566" indent="-300559" algn="l" defTabSz="10762982" rtl="0" eaLnBrk="1" fontAlgn="base" hangingPunct="1">
              <a:lnSpc>
                <a:spcPts val="2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10762982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Real-World Evidence (RWE):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information derived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from analysis of real-world data</a:t>
            </a:r>
            <a:r>
              <a:rPr kumimoji="0" lang="en-US" sz="12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 </a:t>
            </a:r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76581DAD-B047-70C3-2C42-3553E9B4E9C0}"/>
              </a:ext>
            </a:extLst>
          </p:cNvPr>
          <p:cNvSpPr/>
          <p:nvPr/>
        </p:nvSpPr>
        <p:spPr bwMode="auto">
          <a:xfrm>
            <a:off x="6014720" y="2905760"/>
            <a:ext cx="1280160" cy="62992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NL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5C82352-9488-D47D-4D8A-4955FC06272C}"/>
              </a:ext>
            </a:extLst>
          </p:cNvPr>
          <p:cNvSpPr txBox="1"/>
          <p:nvPr/>
        </p:nvSpPr>
        <p:spPr>
          <a:xfrm>
            <a:off x="478368" y="4238012"/>
            <a:ext cx="1046461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2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RWE </a:t>
            </a: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for regulatory purposes </a:t>
            </a:r>
            <a:r>
              <a:rPr kumimoji="0" lang="en-NL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needs to 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be</a:t>
            </a:r>
            <a:r>
              <a:rPr kumimoji="0" lang="en-NL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:</a:t>
            </a: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L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Fast</a:t>
            </a: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, transparent, scalable and reproducible</a:t>
            </a:r>
            <a:endParaRPr kumimoji="0" lang="es-ES" sz="2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Representative (of EU </a:t>
            </a:r>
            <a:r>
              <a:rPr kumimoji="0" lang="es-ES" sz="2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regions</a:t>
            </a:r>
            <a:r>
              <a: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96064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0F8B72-51D6-CE4E-9729-C070821052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994" y="971957"/>
            <a:ext cx="11232000" cy="950913"/>
          </a:xfrm>
        </p:spPr>
        <p:txBody>
          <a:bodyPr>
            <a:normAutofit/>
          </a:bodyPr>
          <a:lstStyle/>
          <a:p>
            <a:r>
              <a:rPr lang="en-US" sz="2400"/>
              <a:t>Generating Reliable Evidence using the OMOP Common Data Model</a:t>
            </a:r>
          </a:p>
        </p:txBody>
      </p:sp>
      <p:sp>
        <p:nvSpPr>
          <p:cNvPr id="3" name="Can 3">
            <a:extLst>
              <a:ext uri="{FF2B5EF4-FFF2-40B4-BE49-F238E27FC236}">
                <a16:creationId xmlns:a16="http://schemas.microsoft.com/office/drawing/2014/main" id="{5CED273B-B3CC-E84C-AF7E-685C7C65C1FD}"/>
              </a:ext>
            </a:extLst>
          </p:cNvPr>
          <p:cNvSpPr/>
          <p:nvPr/>
        </p:nvSpPr>
        <p:spPr>
          <a:xfrm>
            <a:off x="2078677" y="2644829"/>
            <a:ext cx="1524000" cy="1143000"/>
          </a:xfrm>
          <a:prstGeom prst="can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Patient-level data in source system/schema</a:t>
            </a:r>
          </a:p>
        </p:txBody>
      </p:sp>
      <p:sp>
        <p:nvSpPr>
          <p:cNvPr id="4" name="Explosion: 8 Points 15">
            <a:extLst>
              <a:ext uri="{FF2B5EF4-FFF2-40B4-BE49-F238E27FC236}">
                <a16:creationId xmlns:a16="http://schemas.microsoft.com/office/drawing/2014/main" id="{30832F7A-A31A-304B-9A95-AAD06C2517C0}"/>
              </a:ext>
            </a:extLst>
          </p:cNvPr>
          <p:cNvSpPr/>
          <p:nvPr/>
        </p:nvSpPr>
        <p:spPr>
          <a:xfrm>
            <a:off x="8522031" y="2594858"/>
            <a:ext cx="1676400" cy="1242951"/>
          </a:xfrm>
          <a:prstGeom prst="irregularSeal1">
            <a:avLst/>
          </a:prstGeom>
          <a:solidFill>
            <a:srgbClr val="00B050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Reliable </a:t>
            </a:r>
            <a:r>
              <a: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evidence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7B79B04-D10D-4A41-84D0-49B3F520D79E}"/>
              </a:ext>
            </a:extLst>
          </p:cNvPr>
          <p:cNvSpPr/>
          <p:nvPr/>
        </p:nvSpPr>
        <p:spPr>
          <a:xfrm>
            <a:off x="4483431" y="2594857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B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9252CAB-E937-9644-BA11-8378FD284F9B}"/>
              </a:ext>
            </a:extLst>
          </p:cNvPr>
          <p:cNvSpPr/>
          <p:nvPr/>
        </p:nvSpPr>
        <p:spPr>
          <a:xfrm>
            <a:off x="4864431" y="3022811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D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B5DA3C5-F6A7-9441-B3FA-1D118F7A02E4}"/>
              </a:ext>
            </a:extLst>
          </p:cNvPr>
          <p:cNvSpPr/>
          <p:nvPr/>
        </p:nvSpPr>
        <p:spPr>
          <a:xfrm>
            <a:off x="4160817" y="3638349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F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3B88558-EF99-C24E-BB7D-221E4C8D786D}"/>
              </a:ext>
            </a:extLst>
          </p:cNvPr>
          <p:cNvSpPr/>
          <p:nvPr/>
        </p:nvSpPr>
        <p:spPr>
          <a:xfrm>
            <a:off x="4496295" y="4242116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H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AC23E12-AB88-7B42-AE3C-578EFF2F129C}"/>
              </a:ext>
            </a:extLst>
          </p:cNvPr>
          <p:cNvSpPr/>
          <p:nvPr/>
        </p:nvSpPr>
        <p:spPr>
          <a:xfrm>
            <a:off x="5235287" y="3615535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J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C7726E3-3EC9-7F48-9636-32EFDB162142}"/>
              </a:ext>
            </a:extLst>
          </p:cNvPr>
          <p:cNvSpPr/>
          <p:nvPr/>
        </p:nvSpPr>
        <p:spPr>
          <a:xfrm>
            <a:off x="5464876" y="2804419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K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B7AF288-2717-4D4B-86E1-708D0C39E0A0}"/>
              </a:ext>
            </a:extLst>
          </p:cNvPr>
          <p:cNvSpPr/>
          <p:nvPr/>
        </p:nvSpPr>
        <p:spPr>
          <a:xfrm>
            <a:off x="6291943" y="3638349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O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6958F7C-C147-A74A-91A3-0C96375D5B76}"/>
              </a:ext>
            </a:extLst>
          </p:cNvPr>
          <p:cNvSpPr/>
          <p:nvPr/>
        </p:nvSpPr>
        <p:spPr>
          <a:xfrm>
            <a:off x="6481207" y="3318132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Q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E56D18F-2FD1-4A45-94C9-D260FA9146B4}"/>
              </a:ext>
            </a:extLst>
          </p:cNvPr>
          <p:cNvSpPr/>
          <p:nvPr/>
        </p:nvSpPr>
        <p:spPr>
          <a:xfrm>
            <a:off x="5051713" y="4102917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I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339A39A-7C24-1A4B-81ED-3662032BAC60}"/>
              </a:ext>
            </a:extLst>
          </p:cNvPr>
          <p:cNvSpPr/>
          <p:nvPr/>
        </p:nvSpPr>
        <p:spPr>
          <a:xfrm>
            <a:off x="4970317" y="2636915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C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F90D689-D7B4-F24F-B3A3-C8920E3CBAEF}"/>
              </a:ext>
            </a:extLst>
          </p:cNvPr>
          <p:cNvSpPr/>
          <p:nvPr/>
        </p:nvSpPr>
        <p:spPr>
          <a:xfrm>
            <a:off x="4407231" y="3277947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E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52130CDE-1C8A-8E4D-831F-F595F5B49DD1}"/>
              </a:ext>
            </a:extLst>
          </p:cNvPr>
          <p:cNvSpPr/>
          <p:nvPr/>
        </p:nvSpPr>
        <p:spPr>
          <a:xfrm>
            <a:off x="5898447" y="2682319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L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A1DB455-BE5F-5743-AE74-4A3AABB60A5A}"/>
              </a:ext>
            </a:extLst>
          </p:cNvPr>
          <p:cNvSpPr/>
          <p:nvPr/>
        </p:nvSpPr>
        <p:spPr>
          <a:xfrm>
            <a:off x="4169477" y="4049063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G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8D65766E-EED1-0644-8520-0234CEC6BDE3}"/>
              </a:ext>
            </a:extLst>
          </p:cNvPr>
          <p:cNvSpPr/>
          <p:nvPr/>
        </p:nvSpPr>
        <p:spPr>
          <a:xfrm>
            <a:off x="3807651" y="2914213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A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3017B908-44FC-A940-8694-6B69B25F1B96}"/>
              </a:ext>
            </a:extLst>
          </p:cNvPr>
          <p:cNvCxnSpPr>
            <a:cxnSpLocks/>
          </p:cNvCxnSpPr>
          <p:nvPr/>
        </p:nvCxnSpPr>
        <p:spPr>
          <a:xfrm flipV="1">
            <a:off x="7089154" y="3399438"/>
            <a:ext cx="1373708" cy="1"/>
          </a:xfrm>
          <a:prstGeom prst="straightConnector1">
            <a:avLst/>
          </a:prstGeom>
          <a:ln w="57150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3" name="Freeform: Shape 36">
            <a:extLst>
              <a:ext uri="{FF2B5EF4-FFF2-40B4-BE49-F238E27FC236}">
                <a16:creationId xmlns:a16="http://schemas.microsoft.com/office/drawing/2014/main" id="{D158CACC-CA5E-CD47-BDFC-176AEDC1B8E2}"/>
              </a:ext>
            </a:extLst>
          </p:cNvPr>
          <p:cNvSpPr/>
          <p:nvPr/>
        </p:nvSpPr>
        <p:spPr>
          <a:xfrm>
            <a:off x="3918312" y="2620777"/>
            <a:ext cx="2113280" cy="1727200"/>
          </a:xfrm>
          <a:custGeom>
            <a:avLst/>
            <a:gdLst>
              <a:gd name="connsiteX0" fmla="*/ 0 w 2113280"/>
              <a:gd name="connsiteY0" fmla="*/ 436880 h 1727200"/>
              <a:gd name="connsiteX1" fmla="*/ 50800 w 2113280"/>
              <a:gd name="connsiteY1" fmla="*/ 386080 h 1727200"/>
              <a:gd name="connsiteX2" fmla="*/ 71120 w 2113280"/>
              <a:gd name="connsiteY2" fmla="*/ 355600 h 1727200"/>
              <a:gd name="connsiteX3" fmla="*/ 101600 w 2113280"/>
              <a:gd name="connsiteY3" fmla="*/ 345440 h 1727200"/>
              <a:gd name="connsiteX4" fmla="*/ 162560 w 2113280"/>
              <a:gd name="connsiteY4" fmla="*/ 304800 h 1727200"/>
              <a:gd name="connsiteX5" fmla="*/ 223520 w 2113280"/>
              <a:gd name="connsiteY5" fmla="*/ 264160 h 1727200"/>
              <a:gd name="connsiteX6" fmla="*/ 274320 w 2113280"/>
              <a:gd name="connsiteY6" fmla="*/ 223520 h 1727200"/>
              <a:gd name="connsiteX7" fmla="*/ 335280 w 2113280"/>
              <a:gd name="connsiteY7" fmla="*/ 182880 h 1727200"/>
              <a:gd name="connsiteX8" fmla="*/ 365760 w 2113280"/>
              <a:gd name="connsiteY8" fmla="*/ 162560 h 1727200"/>
              <a:gd name="connsiteX9" fmla="*/ 396240 w 2113280"/>
              <a:gd name="connsiteY9" fmla="*/ 152400 h 1727200"/>
              <a:gd name="connsiteX10" fmla="*/ 518160 w 2113280"/>
              <a:gd name="connsiteY10" fmla="*/ 91440 h 1727200"/>
              <a:gd name="connsiteX11" fmla="*/ 680720 w 2113280"/>
              <a:gd name="connsiteY11" fmla="*/ 71120 h 1727200"/>
              <a:gd name="connsiteX12" fmla="*/ 741680 w 2113280"/>
              <a:gd name="connsiteY12" fmla="*/ 50800 h 1727200"/>
              <a:gd name="connsiteX13" fmla="*/ 772160 w 2113280"/>
              <a:gd name="connsiteY13" fmla="*/ 40640 h 1727200"/>
              <a:gd name="connsiteX14" fmla="*/ 914400 w 2113280"/>
              <a:gd name="connsiteY14" fmla="*/ 20320 h 1727200"/>
              <a:gd name="connsiteX15" fmla="*/ 1005840 w 2113280"/>
              <a:gd name="connsiteY15" fmla="*/ 0 h 1727200"/>
              <a:gd name="connsiteX16" fmla="*/ 1097280 w 2113280"/>
              <a:gd name="connsiteY16" fmla="*/ 10160 h 1727200"/>
              <a:gd name="connsiteX17" fmla="*/ 1188720 w 2113280"/>
              <a:gd name="connsiteY17" fmla="*/ 50800 h 1727200"/>
              <a:gd name="connsiteX18" fmla="*/ 1219200 w 2113280"/>
              <a:gd name="connsiteY18" fmla="*/ 274320 h 1727200"/>
              <a:gd name="connsiteX19" fmla="*/ 1178560 w 2113280"/>
              <a:gd name="connsiteY19" fmla="*/ 335280 h 1727200"/>
              <a:gd name="connsiteX20" fmla="*/ 1168400 w 2113280"/>
              <a:gd name="connsiteY20" fmla="*/ 365760 h 1727200"/>
              <a:gd name="connsiteX21" fmla="*/ 1158240 w 2113280"/>
              <a:gd name="connsiteY21" fmla="*/ 416560 h 1727200"/>
              <a:gd name="connsiteX22" fmla="*/ 1107440 w 2113280"/>
              <a:gd name="connsiteY22" fmla="*/ 477520 h 1727200"/>
              <a:gd name="connsiteX23" fmla="*/ 1056640 w 2113280"/>
              <a:gd name="connsiteY23" fmla="*/ 579120 h 1727200"/>
              <a:gd name="connsiteX24" fmla="*/ 975360 w 2113280"/>
              <a:gd name="connsiteY24" fmla="*/ 650240 h 1727200"/>
              <a:gd name="connsiteX25" fmla="*/ 853440 w 2113280"/>
              <a:gd name="connsiteY25" fmla="*/ 690880 h 1727200"/>
              <a:gd name="connsiteX26" fmla="*/ 822960 w 2113280"/>
              <a:gd name="connsiteY26" fmla="*/ 701040 h 1727200"/>
              <a:gd name="connsiteX27" fmla="*/ 762000 w 2113280"/>
              <a:gd name="connsiteY27" fmla="*/ 741680 h 1727200"/>
              <a:gd name="connsiteX28" fmla="*/ 721360 w 2113280"/>
              <a:gd name="connsiteY28" fmla="*/ 751840 h 1727200"/>
              <a:gd name="connsiteX29" fmla="*/ 690880 w 2113280"/>
              <a:gd name="connsiteY29" fmla="*/ 762000 h 1727200"/>
              <a:gd name="connsiteX30" fmla="*/ 579120 w 2113280"/>
              <a:gd name="connsiteY30" fmla="*/ 772160 h 1727200"/>
              <a:gd name="connsiteX31" fmla="*/ 477520 w 2113280"/>
              <a:gd name="connsiteY31" fmla="*/ 822960 h 1727200"/>
              <a:gd name="connsiteX32" fmla="*/ 447040 w 2113280"/>
              <a:gd name="connsiteY32" fmla="*/ 843280 h 1727200"/>
              <a:gd name="connsiteX33" fmla="*/ 396240 w 2113280"/>
              <a:gd name="connsiteY33" fmla="*/ 914400 h 1727200"/>
              <a:gd name="connsiteX34" fmla="*/ 345440 w 2113280"/>
              <a:gd name="connsiteY34" fmla="*/ 985520 h 1727200"/>
              <a:gd name="connsiteX35" fmla="*/ 335280 w 2113280"/>
              <a:gd name="connsiteY35" fmla="*/ 1026160 h 1727200"/>
              <a:gd name="connsiteX36" fmla="*/ 314960 w 2113280"/>
              <a:gd name="connsiteY36" fmla="*/ 1056640 h 1727200"/>
              <a:gd name="connsiteX37" fmla="*/ 294640 w 2113280"/>
              <a:gd name="connsiteY37" fmla="*/ 1097280 h 1727200"/>
              <a:gd name="connsiteX38" fmla="*/ 274320 w 2113280"/>
              <a:gd name="connsiteY38" fmla="*/ 1158240 h 1727200"/>
              <a:gd name="connsiteX39" fmla="*/ 314960 w 2113280"/>
              <a:gd name="connsiteY39" fmla="*/ 1229360 h 1727200"/>
              <a:gd name="connsiteX40" fmla="*/ 325120 w 2113280"/>
              <a:gd name="connsiteY40" fmla="*/ 1371600 h 1727200"/>
              <a:gd name="connsiteX41" fmla="*/ 345440 w 2113280"/>
              <a:gd name="connsiteY41" fmla="*/ 1442720 h 1727200"/>
              <a:gd name="connsiteX42" fmla="*/ 355600 w 2113280"/>
              <a:gd name="connsiteY42" fmla="*/ 1483360 h 1727200"/>
              <a:gd name="connsiteX43" fmla="*/ 375920 w 2113280"/>
              <a:gd name="connsiteY43" fmla="*/ 1534160 h 1727200"/>
              <a:gd name="connsiteX44" fmla="*/ 386080 w 2113280"/>
              <a:gd name="connsiteY44" fmla="*/ 1584960 h 1727200"/>
              <a:gd name="connsiteX45" fmla="*/ 426720 w 2113280"/>
              <a:gd name="connsiteY45" fmla="*/ 1676400 h 1727200"/>
              <a:gd name="connsiteX46" fmla="*/ 487680 w 2113280"/>
              <a:gd name="connsiteY46" fmla="*/ 1717040 h 1727200"/>
              <a:gd name="connsiteX47" fmla="*/ 711200 w 2113280"/>
              <a:gd name="connsiteY47" fmla="*/ 1727200 h 1727200"/>
              <a:gd name="connsiteX48" fmla="*/ 985520 w 2113280"/>
              <a:gd name="connsiteY48" fmla="*/ 1717040 h 1727200"/>
              <a:gd name="connsiteX49" fmla="*/ 1076960 w 2113280"/>
              <a:gd name="connsiteY49" fmla="*/ 1706880 h 1727200"/>
              <a:gd name="connsiteX50" fmla="*/ 1107440 w 2113280"/>
              <a:gd name="connsiteY50" fmla="*/ 1686560 h 1727200"/>
              <a:gd name="connsiteX51" fmla="*/ 1198880 w 2113280"/>
              <a:gd name="connsiteY51" fmla="*/ 1635760 h 1727200"/>
              <a:gd name="connsiteX52" fmla="*/ 1229360 w 2113280"/>
              <a:gd name="connsiteY52" fmla="*/ 1615440 h 1727200"/>
              <a:gd name="connsiteX53" fmla="*/ 1259840 w 2113280"/>
              <a:gd name="connsiteY53" fmla="*/ 1595120 h 1727200"/>
              <a:gd name="connsiteX54" fmla="*/ 1270000 w 2113280"/>
              <a:gd name="connsiteY54" fmla="*/ 1564640 h 1727200"/>
              <a:gd name="connsiteX55" fmla="*/ 1300480 w 2113280"/>
              <a:gd name="connsiteY55" fmla="*/ 1503680 h 1727200"/>
              <a:gd name="connsiteX56" fmla="*/ 1341120 w 2113280"/>
              <a:gd name="connsiteY56" fmla="*/ 1361440 h 1727200"/>
              <a:gd name="connsiteX57" fmla="*/ 1361440 w 2113280"/>
              <a:gd name="connsiteY57" fmla="*/ 1330960 h 1727200"/>
              <a:gd name="connsiteX58" fmla="*/ 1391920 w 2113280"/>
              <a:gd name="connsiteY58" fmla="*/ 1239520 h 1727200"/>
              <a:gd name="connsiteX59" fmla="*/ 1402080 w 2113280"/>
              <a:gd name="connsiteY59" fmla="*/ 1209040 h 1727200"/>
              <a:gd name="connsiteX60" fmla="*/ 1422400 w 2113280"/>
              <a:gd name="connsiteY60" fmla="*/ 1137920 h 1727200"/>
              <a:gd name="connsiteX61" fmla="*/ 1442720 w 2113280"/>
              <a:gd name="connsiteY61" fmla="*/ 914400 h 1727200"/>
              <a:gd name="connsiteX62" fmla="*/ 1473200 w 2113280"/>
              <a:gd name="connsiteY62" fmla="*/ 802640 h 1727200"/>
              <a:gd name="connsiteX63" fmla="*/ 1483360 w 2113280"/>
              <a:gd name="connsiteY63" fmla="*/ 741680 h 1727200"/>
              <a:gd name="connsiteX64" fmla="*/ 1503680 w 2113280"/>
              <a:gd name="connsiteY64" fmla="*/ 599440 h 1727200"/>
              <a:gd name="connsiteX65" fmla="*/ 1513840 w 2113280"/>
              <a:gd name="connsiteY65" fmla="*/ 497840 h 1727200"/>
              <a:gd name="connsiteX66" fmla="*/ 1534160 w 2113280"/>
              <a:gd name="connsiteY66" fmla="*/ 467360 h 1727200"/>
              <a:gd name="connsiteX67" fmla="*/ 1564640 w 2113280"/>
              <a:gd name="connsiteY67" fmla="*/ 406400 h 1727200"/>
              <a:gd name="connsiteX68" fmla="*/ 1584960 w 2113280"/>
              <a:gd name="connsiteY68" fmla="*/ 335280 h 1727200"/>
              <a:gd name="connsiteX69" fmla="*/ 1625600 w 2113280"/>
              <a:gd name="connsiteY69" fmla="*/ 274320 h 1727200"/>
              <a:gd name="connsiteX70" fmla="*/ 1666240 w 2113280"/>
              <a:gd name="connsiteY70" fmla="*/ 223520 h 1727200"/>
              <a:gd name="connsiteX71" fmla="*/ 1706880 w 2113280"/>
              <a:gd name="connsiteY71" fmla="*/ 162560 h 1727200"/>
              <a:gd name="connsiteX72" fmla="*/ 1798320 w 2113280"/>
              <a:gd name="connsiteY72" fmla="*/ 121920 h 1727200"/>
              <a:gd name="connsiteX73" fmla="*/ 1981200 w 2113280"/>
              <a:gd name="connsiteY73" fmla="*/ 132080 h 1727200"/>
              <a:gd name="connsiteX74" fmla="*/ 2021840 w 2113280"/>
              <a:gd name="connsiteY74" fmla="*/ 142240 h 1727200"/>
              <a:gd name="connsiteX75" fmla="*/ 2113280 w 2113280"/>
              <a:gd name="connsiteY75" fmla="*/ 152400 h 172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2113280" h="1727200">
                <a:moveTo>
                  <a:pt x="0" y="436880"/>
                </a:moveTo>
                <a:cubicBezTo>
                  <a:pt x="16933" y="419947"/>
                  <a:pt x="35031" y="404102"/>
                  <a:pt x="50800" y="386080"/>
                </a:cubicBezTo>
                <a:cubicBezTo>
                  <a:pt x="58841" y="376890"/>
                  <a:pt x="61585" y="363228"/>
                  <a:pt x="71120" y="355600"/>
                </a:cubicBezTo>
                <a:cubicBezTo>
                  <a:pt x="79483" y="348910"/>
                  <a:pt x="92238" y="350641"/>
                  <a:pt x="101600" y="345440"/>
                </a:cubicBezTo>
                <a:cubicBezTo>
                  <a:pt x="122948" y="333580"/>
                  <a:pt x="145291" y="322069"/>
                  <a:pt x="162560" y="304800"/>
                </a:cubicBezTo>
                <a:cubicBezTo>
                  <a:pt x="200613" y="266747"/>
                  <a:pt x="179409" y="278864"/>
                  <a:pt x="223520" y="264160"/>
                </a:cubicBezTo>
                <a:cubicBezTo>
                  <a:pt x="261065" y="207842"/>
                  <a:pt x="222358" y="252388"/>
                  <a:pt x="274320" y="223520"/>
                </a:cubicBezTo>
                <a:cubicBezTo>
                  <a:pt x="295668" y="211660"/>
                  <a:pt x="314960" y="196427"/>
                  <a:pt x="335280" y="182880"/>
                </a:cubicBezTo>
                <a:cubicBezTo>
                  <a:pt x="345440" y="176107"/>
                  <a:pt x="354176" y="166421"/>
                  <a:pt x="365760" y="162560"/>
                </a:cubicBezTo>
                <a:cubicBezTo>
                  <a:pt x="375920" y="159173"/>
                  <a:pt x="386878" y="157601"/>
                  <a:pt x="396240" y="152400"/>
                </a:cubicBezTo>
                <a:cubicBezTo>
                  <a:pt x="445107" y="125252"/>
                  <a:pt x="460269" y="97229"/>
                  <a:pt x="518160" y="91440"/>
                </a:cubicBezTo>
                <a:cubicBezTo>
                  <a:pt x="553488" y="87907"/>
                  <a:pt x="638706" y="81624"/>
                  <a:pt x="680720" y="71120"/>
                </a:cubicBezTo>
                <a:cubicBezTo>
                  <a:pt x="701500" y="65925"/>
                  <a:pt x="721360" y="57573"/>
                  <a:pt x="741680" y="50800"/>
                </a:cubicBezTo>
                <a:cubicBezTo>
                  <a:pt x="751840" y="47413"/>
                  <a:pt x="761658" y="42740"/>
                  <a:pt x="772160" y="40640"/>
                </a:cubicBezTo>
                <a:cubicBezTo>
                  <a:pt x="853032" y="24466"/>
                  <a:pt x="805797" y="32387"/>
                  <a:pt x="914400" y="20320"/>
                </a:cubicBezTo>
                <a:cubicBezTo>
                  <a:pt x="930074" y="16402"/>
                  <a:pt x="992942" y="0"/>
                  <a:pt x="1005840" y="0"/>
                </a:cubicBezTo>
                <a:cubicBezTo>
                  <a:pt x="1036508" y="0"/>
                  <a:pt x="1066800" y="6773"/>
                  <a:pt x="1097280" y="10160"/>
                </a:cubicBezTo>
                <a:cubicBezTo>
                  <a:pt x="1169824" y="34341"/>
                  <a:pt x="1140418" y="18599"/>
                  <a:pt x="1188720" y="50800"/>
                </a:cubicBezTo>
                <a:cubicBezTo>
                  <a:pt x="1249143" y="141435"/>
                  <a:pt x="1253854" y="121842"/>
                  <a:pt x="1219200" y="274320"/>
                </a:cubicBezTo>
                <a:cubicBezTo>
                  <a:pt x="1213788" y="298134"/>
                  <a:pt x="1186283" y="312112"/>
                  <a:pt x="1178560" y="335280"/>
                </a:cubicBezTo>
                <a:cubicBezTo>
                  <a:pt x="1175173" y="345440"/>
                  <a:pt x="1170997" y="355370"/>
                  <a:pt x="1168400" y="365760"/>
                </a:cubicBezTo>
                <a:cubicBezTo>
                  <a:pt x="1164212" y="382513"/>
                  <a:pt x="1164303" y="400391"/>
                  <a:pt x="1158240" y="416560"/>
                </a:cubicBezTo>
                <a:cubicBezTo>
                  <a:pt x="1149753" y="439192"/>
                  <a:pt x="1123252" y="461708"/>
                  <a:pt x="1107440" y="477520"/>
                </a:cubicBezTo>
                <a:cubicBezTo>
                  <a:pt x="1091357" y="541852"/>
                  <a:pt x="1105026" y="506542"/>
                  <a:pt x="1056640" y="579120"/>
                </a:cubicBezTo>
                <a:cubicBezTo>
                  <a:pt x="1032933" y="614680"/>
                  <a:pt x="1026160" y="633307"/>
                  <a:pt x="975360" y="650240"/>
                </a:cubicBezTo>
                <a:lnTo>
                  <a:pt x="853440" y="690880"/>
                </a:lnTo>
                <a:cubicBezTo>
                  <a:pt x="843280" y="694267"/>
                  <a:pt x="831871" y="695099"/>
                  <a:pt x="822960" y="701040"/>
                </a:cubicBezTo>
                <a:cubicBezTo>
                  <a:pt x="802640" y="714587"/>
                  <a:pt x="785692" y="735757"/>
                  <a:pt x="762000" y="741680"/>
                </a:cubicBezTo>
                <a:cubicBezTo>
                  <a:pt x="748453" y="745067"/>
                  <a:pt x="734786" y="748004"/>
                  <a:pt x="721360" y="751840"/>
                </a:cubicBezTo>
                <a:cubicBezTo>
                  <a:pt x="711062" y="754782"/>
                  <a:pt x="701482" y="760485"/>
                  <a:pt x="690880" y="762000"/>
                </a:cubicBezTo>
                <a:cubicBezTo>
                  <a:pt x="653849" y="767290"/>
                  <a:pt x="616373" y="768773"/>
                  <a:pt x="579120" y="772160"/>
                </a:cubicBezTo>
                <a:cubicBezTo>
                  <a:pt x="495244" y="800119"/>
                  <a:pt x="540712" y="777823"/>
                  <a:pt x="477520" y="822960"/>
                </a:cubicBezTo>
                <a:cubicBezTo>
                  <a:pt x="467584" y="830057"/>
                  <a:pt x="455674" y="834646"/>
                  <a:pt x="447040" y="843280"/>
                </a:cubicBezTo>
                <a:cubicBezTo>
                  <a:pt x="410438" y="879882"/>
                  <a:pt x="425085" y="879787"/>
                  <a:pt x="396240" y="914400"/>
                </a:cubicBezTo>
                <a:cubicBezTo>
                  <a:pt x="360967" y="956728"/>
                  <a:pt x="365949" y="930829"/>
                  <a:pt x="345440" y="985520"/>
                </a:cubicBezTo>
                <a:cubicBezTo>
                  <a:pt x="340537" y="998595"/>
                  <a:pt x="340781" y="1013325"/>
                  <a:pt x="335280" y="1026160"/>
                </a:cubicBezTo>
                <a:cubicBezTo>
                  <a:pt x="330470" y="1037383"/>
                  <a:pt x="321018" y="1046038"/>
                  <a:pt x="314960" y="1056640"/>
                </a:cubicBezTo>
                <a:cubicBezTo>
                  <a:pt x="307446" y="1069790"/>
                  <a:pt x="300265" y="1083218"/>
                  <a:pt x="294640" y="1097280"/>
                </a:cubicBezTo>
                <a:cubicBezTo>
                  <a:pt x="286685" y="1117167"/>
                  <a:pt x="274320" y="1158240"/>
                  <a:pt x="274320" y="1158240"/>
                </a:cubicBezTo>
                <a:cubicBezTo>
                  <a:pt x="284566" y="1173608"/>
                  <a:pt x="312095" y="1212173"/>
                  <a:pt x="314960" y="1229360"/>
                </a:cubicBezTo>
                <a:cubicBezTo>
                  <a:pt x="322775" y="1276247"/>
                  <a:pt x="319871" y="1324357"/>
                  <a:pt x="325120" y="1371600"/>
                </a:cubicBezTo>
                <a:cubicBezTo>
                  <a:pt x="328007" y="1397587"/>
                  <a:pt x="338434" y="1418200"/>
                  <a:pt x="345440" y="1442720"/>
                </a:cubicBezTo>
                <a:cubicBezTo>
                  <a:pt x="349276" y="1456146"/>
                  <a:pt x="351184" y="1470113"/>
                  <a:pt x="355600" y="1483360"/>
                </a:cubicBezTo>
                <a:cubicBezTo>
                  <a:pt x="361367" y="1500662"/>
                  <a:pt x="370679" y="1516691"/>
                  <a:pt x="375920" y="1534160"/>
                </a:cubicBezTo>
                <a:cubicBezTo>
                  <a:pt x="380882" y="1550700"/>
                  <a:pt x="381536" y="1568300"/>
                  <a:pt x="386080" y="1584960"/>
                </a:cubicBezTo>
                <a:cubicBezTo>
                  <a:pt x="391841" y="1606083"/>
                  <a:pt x="405020" y="1657413"/>
                  <a:pt x="426720" y="1676400"/>
                </a:cubicBezTo>
                <a:cubicBezTo>
                  <a:pt x="445099" y="1692482"/>
                  <a:pt x="463284" y="1715931"/>
                  <a:pt x="487680" y="1717040"/>
                </a:cubicBezTo>
                <a:lnTo>
                  <a:pt x="711200" y="1727200"/>
                </a:lnTo>
                <a:lnTo>
                  <a:pt x="985520" y="1717040"/>
                </a:lnTo>
                <a:cubicBezTo>
                  <a:pt x="1016140" y="1715339"/>
                  <a:pt x="1047208" y="1714318"/>
                  <a:pt x="1076960" y="1706880"/>
                </a:cubicBezTo>
                <a:cubicBezTo>
                  <a:pt x="1088806" y="1703918"/>
                  <a:pt x="1096518" y="1692021"/>
                  <a:pt x="1107440" y="1686560"/>
                </a:cubicBezTo>
                <a:cubicBezTo>
                  <a:pt x="1214737" y="1632912"/>
                  <a:pt x="1006672" y="1763899"/>
                  <a:pt x="1198880" y="1635760"/>
                </a:cubicBezTo>
                <a:lnTo>
                  <a:pt x="1229360" y="1615440"/>
                </a:lnTo>
                <a:lnTo>
                  <a:pt x="1259840" y="1595120"/>
                </a:lnTo>
                <a:cubicBezTo>
                  <a:pt x="1263227" y="1584960"/>
                  <a:pt x="1265211" y="1574219"/>
                  <a:pt x="1270000" y="1564640"/>
                </a:cubicBezTo>
                <a:cubicBezTo>
                  <a:pt x="1297744" y="1509152"/>
                  <a:pt x="1285158" y="1559862"/>
                  <a:pt x="1300480" y="1503680"/>
                </a:cubicBezTo>
                <a:cubicBezTo>
                  <a:pt x="1303607" y="1492216"/>
                  <a:pt x="1329140" y="1379410"/>
                  <a:pt x="1341120" y="1361440"/>
                </a:cubicBezTo>
                <a:cubicBezTo>
                  <a:pt x="1347893" y="1351280"/>
                  <a:pt x="1356481" y="1342118"/>
                  <a:pt x="1361440" y="1330960"/>
                </a:cubicBezTo>
                <a:lnTo>
                  <a:pt x="1391920" y="1239520"/>
                </a:lnTo>
                <a:lnTo>
                  <a:pt x="1402080" y="1209040"/>
                </a:lnTo>
                <a:cubicBezTo>
                  <a:pt x="1410133" y="1184882"/>
                  <a:pt x="1418148" y="1163435"/>
                  <a:pt x="1422400" y="1137920"/>
                </a:cubicBezTo>
                <a:cubicBezTo>
                  <a:pt x="1438221" y="1042993"/>
                  <a:pt x="1431023" y="1025520"/>
                  <a:pt x="1442720" y="914400"/>
                </a:cubicBezTo>
                <a:cubicBezTo>
                  <a:pt x="1456433" y="784128"/>
                  <a:pt x="1448223" y="952504"/>
                  <a:pt x="1473200" y="802640"/>
                </a:cubicBezTo>
                <a:cubicBezTo>
                  <a:pt x="1476587" y="782320"/>
                  <a:pt x="1480304" y="762052"/>
                  <a:pt x="1483360" y="741680"/>
                </a:cubicBezTo>
                <a:cubicBezTo>
                  <a:pt x="1490465" y="694315"/>
                  <a:pt x="1498914" y="647097"/>
                  <a:pt x="1503680" y="599440"/>
                </a:cubicBezTo>
                <a:cubicBezTo>
                  <a:pt x="1507067" y="565573"/>
                  <a:pt x="1506187" y="531004"/>
                  <a:pt x="1513840" y="497840"/>
                </a:cubicBezTo>
                <a:cubicBezTo>
                  <a:pt x="1516586" y="485942"/>
                  <a:pt x="1528699" y="478282"/>
                  <a:pt x="1534160" y="467360"/>
                </a:cubicBezTo>
                <a:cubicBezTo>
                  <a:pt x="1576224" y="383232"/>
                  <a:pt x="1506406" y="493751"/>
                  <a:pt x="1564640" y="406400"/>
                </a:cubicBezTo>
                <a:cubicBezTo>
                  <a:pt x="1567031" y="396834"/>
                  <a:pt x="1578335" y="347206"/>
                  <a:pt x="1584960" y="335280"/>
                </a:cubicBezTo>
                <a:cubicBezTo>
                  <a:pt x="1596820" y="313932"/>
                  <a:pt x="1617877" y="297488"/>
                  <a:pt x="1625600" y="274320"/>
                </a:cubicBezTo>
                <a:cubicBezTo>
                  <a:pt x="1639621" y="232256"/>
                  <a:pt x="1626849" y="249781"/>
                  <a:pt x="1666240" y="223520"/>
                </a:cubicBezTo>
                <a:cubicBezTo>
                  <a:pt x="1679787" y="203200"/>
                  <a:pt x="1683712" y="170283"/>
                  <a:pt x="1706880" y="162560"/>
                </a:cubicBezTo>
                <a:cubicBezTo>
                  <a:pt x="1779424" y="138379"/>
                  <a:pt x="1750018" y="154121"/>
                  <a:pt x="1798320" y="121920"/>
                </a:cubicBezTo>
                <a:cubicBezTo>
                  <a:pt x="1859280" y="125307"/>
                  <a:pt x="1920397" y="126552"/>
                  <a:pt x="1981200" y="132080"/>
                </a:cubicBezTo>
                <a:cubicBezTo>
                  <a:pt x="1995106" y="133344"/>
                  <a:pt x="2008066" y="139944"/>
                  <a:pt x="2021840" y="142240"/>
                </a:cubicBezTo>
                <a:cubicBezTo>
                  <a:pt x="2085320" y="152820"/>
                  <a:pt x="2078440" y="152400"/>
                  <a:pt x="2113280" y="152400"/>
                </a:cubicBezTo>
              </a:path>
            </a:pathLst>
          </a:cu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89EE510B-F51A-1344-90AD-7DB8AD809E15}"/>
              </a:ext>
            </a:extLst>
          </p:cNvPr>
          <p:cNvSpPr/>
          <p:nvPr/>
        </p:nvSpPr>
        <p:spPr>
          <a:xfrm>
            <a:off x="4482192" y="2583880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B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5656B4AC-88A4-E446-8C78-5C44170F60D2}"/>
              </a:ext>
            </a:extLst>
          </p:cNvPr>
          <p:cNvSpPr/>
          <p:nvPr/>
        </p:nvSpPr>
        <p:spPr>
          <a:xfrm>
            <a:off x="4863192" y="3011833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D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C79A39AC-0B7F-CF4B-8A7B-892B9BD5ED10}"/>
              </a:ext>
            </a:extLst>
          </p:cNvPr>
          <p:cNvSpPr/>
          <p:nvPr/>
        </p:nvSpPr>
        <p:spPr>
          <a:xfrm>
            <a:off x="4159579" y="3627372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F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909E0144-240C-3340-B166-5D41071F8BA4}"/>
              </a:ext>
            </a:extLst>
          </p:cNvPr>
          <p:cNvSpPr/>
          <p:nvPr/>
        </p:nvSpPr>
        <p:spPr>
          <a:xfrm>
            <a:off x="4495057" y="4231139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H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44A55BD-62FC-B942-ACAC-D1628C8715CB}"/>
              </a:ext>
            </a:extLst>
          </p:cNvPr>
          <p:cNvSpPr/>
          <p:nvPr/>
        </p:nvSpPr>
        <p:spPr>
          <a:xfrm>
            <a:off x="5234048" y="3604557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J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E06F1A36-3F00-F644-A748-65AD5AD07A20}"/>
              </a:ext>
            </a:extLst>
          </p:cNvPr>
          <p:cNvSpPr/>
          <p:nvPr/>
        </p:nvSpPr>
        <p:spPr>
          <a:xfrm>
            <a:off x="5463639" y="2793441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K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846859D8-10DF-EA45-929A-52FCADAAFBC4}"/>
              </a:ext>
            </a:extLst>
          </p:cNvPr>
          <p:cNvSpPr/>
          <p:nvPr/>
        </p:nvSpPr>
        <p:spPr>
          <a:xfrm>
            <a:off x="7612201" y="3284920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M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2FD80DD1-8DE2-2F40-B33E-8EE1B417D0B6}"/>
              </a:ext>
            </a:extLst>
          </p:cNvPr>
          <p:cNvSpPr/>
          <p:nvPr/>
        </p:nvSpPr>
        <p:spPr>
          <a:xfrm>
            <a:off x="5050475" y="4091940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I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EE798225-80BA-1A4A-AF5F-51F36A95B6F7}"/>
              </a:ext>
            </a:extLst>
          </p:cNvPr>
          <p:cNvSpPr/>
          <p:nvPr/>
        </p:nvSpPr>
        <p:spPr>
          <a:xfrm>
            <a:off x="4969079" y="2625937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C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53E7029B-DC01-4644-9331-E4D33EB6B075}"/>
              </a:ext>
            </a:extLst>
          </p:cNvPr>
          <p:cNvSpPr/>
          <p:nvPr/>
        </p:nvSpPr>
        <p:spPr>
          <a:xfrm>
            <a:off x="4405992" y="3266969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E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F73E13EF-F886-5441-9A86-1CB0025A3391}"/>
              </a:ext>
            </a:extLst>
          </p:cNvPr>
          <p:cNvSpPr/>
          <p:nvPr/>
        </p:nvSpPr>
        <p:spPr>
          <a:xfrm>
            <a:off x="5897209" y="2671341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L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ABB3A347-BE13-8541-91ED-1893071B8E1E}"/>
              </a:ext>
            </a:extLst>
          </p:cNvPr>
          <p:cNvSpPr/>
          <p:nvPr/>
        </p:nvSpPr>
        <p:spPr>
          <a:xfrm>
            <a:off x="4168239" y="4038085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G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71C520BE-F2E2-8148-BFA7-1DD8D6213CC4}"/>
              </a:ext>
            </a:extLst>
          </p:cNvPr>
          <p:cNvSpPr/>
          <p:nvPr/>
        </p:nvSpPr>
        <p:spPr>
          <a:xfrm>
            <a:off x="3807651" y="2914213"/>
            <a:ext cx="228600" cy="199459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A</a:t>
            </a:r>
          </a:p>
        </p:txBody>
      </p:sp>
      <p:sp>
        <p:nvSpPr>
          <p:cNvPr id="49" name="Can 3">
            <a:extLst>
              <a:ext uri="{FF2B5EF4-FFF2-40B4-BE49-F238E27FC236}">
                <a16:creationId xmlns:a16="http://schemas.microsoft.com/office/drawing/2014/main" id="{67E5324B-4FF4-4B4E-B27D-C315A101382F}"/>
              </a:ext>
            </a:extLst>
          </p:cNvPr>
          <p:cNvSpPr/>
          <p:nvPr/>
        </p:nvSpPr>
        <p:spPr>
          <a:xfrm>
            <a:off x="6008505" y="2868802"/>
            <a:ext cx="1044363" cy="988701"/>
          </a:xfrm>
          <a:prstGeom prst="can">
            <a:avLst/>
          </a:prstGeom>
          <a:solidFill>
            <a:srgbClr val="00339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Patient-level data in CDM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77A1505-75A4-3741-A4EA-B83705767FC2}"/>
              </a:ext>
            </a:extLst>
          </p:cNvPr>
          <p:cNvSpPr txBox="1"/>
          <p:nvPr/>
        </p:nvSpPr>
        <p:spPr>
          <a:xfrm>
            <a:off x="3335199" y="4695640"/>
            <a:ext cx="5581221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A Common Data Model enables standardised analytics to generate reliable evidence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76FED1A-3D81-C24A-8618-35ABE12A30B4}"/>
              </a:ext>
            </a:extLst>
          </p:cNvPr>
          <p:cNvSpPr txBox="1"/>
          <p:nvPr/>
        </p:nvSpPr>
        <p:spPr>
          <a:xfrm>
            <a:off x="821830" y="4782067"/>
            <a:ext cx="184731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03DB4A5-6A9B-CE4A-ACD9-532E7FFD86F4}"/>
              </a:ext>
            </a:extLst>
          </p:cNvPr>
          <p:cNvSpPr txBox="1"/>
          <p:nvPr/>
        </p:nvSpPr>
        <p:spPr>
          <a:xfrm>
            <a:off x="1110923" y="1599092"/>
            <a:ext cx="92853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We need to make studies repeatable, reproducible, replicable, generalisable, and robust</a:t>
            </a:r>
          </a:p>
        </p:txBody>
      </p:sp>
    </p:spTree>
    <p:extLst>
      <p:ext uri="{BB962C8B-B14F-4D97-AF65-F5344CB8AC3E}">
        <p14:creationId xmlns:p14="http://schemas.microsoft.com/office/powerpoint/2010/main" val="6822958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589C88-5052-A359-D5D7-4F8A04CA51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10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Develop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CC342E-E446-F000-091E-B13CD5E7F4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468437-DC6C-443C-8387-7F3DABA73C17}" type="slidenum">
              <a:rPr kumimoji="0" lang="en-GB" altLang="en-US" sz="1107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pPr marL="0" marR="0" lvl="0" indent="0" algn="l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altLang="en-US" sz="110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C08A847-9754-52F4-3F85-BD30DB274B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atalogue of Standard Data Analys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53D45A6-5A38-2141-12CC-6967894E4DA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2218200"/>
            <a:ext cx="5624042" cy="131891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D021FD7-679C-C092-0675-8AA4D098A92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5843" y="2274264"/>
            <a:ext cx="5453258" cy="131891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33FBDCD-7B0D-A335-5695-001FF729FF8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5843" y="3671220"/>
            <a:ext cx="5453258" cy="131891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726C17A-4BB3-128B-762E-EF2E7DA29DA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48400" y="3593174"/>
            <a:ext cx="5624042" cy="1997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6124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73C105-75FC-FC71-57B7-D7E434D86D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3654" name="Picture 6">
            <a:extLst>
              <a:ext uri="{FF2B5EF4-FFF2-40B4-BE49-F238E27FC236}">
                <a16:creationId xmlns:a16="http://schemas.microsoft.com/office/drawing/2014/main" id="{6F3AC2A2-A43F-9CD2-EF13-038B1E0192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308455" y="2686621"/>
            <a:ext cx="2914210" cy="25480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A0CE32B5-BB2C-F762-D6E3-BCD1B133F3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600" err="1"/>
              <a:t>From</a:t>
            </a:r>
            <a:r>
              <a:rPr lang="de-DE" sz="3600"/>
              <a:t> Data Standardization</a:t>
            </a:r>
            <a:br>
              <a:rPr lang="de-DE" sz="3600"/>
            </a:br>
            <a:r>
              <a:rPr lang="de-DE" sz="3600" err="1"/>
              <a:t>To</a:t>
            </a:r>
            <a:r>
              <a:rPr lang="de-DE" sz="3600"/>
              <a:t> Standardised Analytics</a:t>
            </a:r>
            <a:endParaRPr lang="en-US" sz="3600"/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id="{47B95917-04DF-0DD4-0FA2-BC0B9EEF01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0425A"/>
              </a:buClr>
              <a:buSzPct val="25000"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20425A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0425A"/>
                </a:buClr>
                <a:buSzPct val="25000"/>
                <a:buFontTx/>
                <a:buNone/>
                <a:tabLst/>
                <a:defRPr/>
              </a:pPr>
              <a:t>6</a:t>
            </a:fld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grpSp>
        <p:nvGrpSpPr>
          <p:cNvPr id="2" name="Group 27">
            <a:extLst>
              <a:ext uri="{FF2B5EF4-FFF2-40B4-BE49-F238E27FC236}">
                <a16:creationId xmlns:a16="http://schemas.microsoft.com/office/drawing/2014/main" id="{E09F58D9-7404-08B2-8489-11272350CA9C}"/>
              </a:ext>
            </a:extLst>
          </p:cNvPr>
          <p:cNvGrpSpPr/>
          <p:nvPr/>
        </p:nvGrpSpPr>
        <p:grpSpPr>
          <a:xfrm>
            <a:off x="7258105" y="2568483"/>
            <a:ext cx="2918757" cy="2173153"/>
            <a:chOff x="5371537" y="1837549"/>
            <a:chExt cx="3161988" cy="2354250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A32FF90-2D15-0817-49E9-E47666114E77}"/>
                </a:ext>
              </a:extLst>
            </p:cNvPr>
            <p:cNvSpPr txBox="1"/>
            <p:nvPr/>
          </p:nvSpPr>
          <p:spPr>
            <a:xfrm>
              <a:off x="5371538" y="2249065"/>
              <a:ext cx="3036045" cy="2847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8" b="0" i="0" u="none" strike="noStrike" kern="0" cap="none" spc="0" normalizeH="0" baseline="0" noProof="0">
                  <a:ln>
                    <a:noFill/>
                  </a:ln>
                  <a:solidFill>
                    <a:srgbClr val="C0504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rPr>
                <a:t>Spain	    Italy	         NL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9DF06E5-23F8-2D10-2C71-904F82D91AE9}"/>
                </a:ext>
              </a:extLst>
            </p:cNvPr>
            <p:cNvSpPr txBox="1"/>
            <p:nvPr/>
          </p:nvSpPr>
          <p:spPr>
            <a:xfrm>
              <a:off x="5371537" y="3024512"/>
              <a:ext cx="2981694" cy="2847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8" b="0" i="0" u="none" strike="noStrike" kern="0" cap="none" spc="0" normalizeH="0" baseline="0" noProof="0">
                  <a:ln>
                    <a:noFill/>
                  </a:ln>
                  <a:solidFill>
                    <a:srgbClr val="C0504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rPr>
                <a:t>US Claims       UK                     Japan          India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CA8947B-60F9-2ACD-F127-2C764DBA7848}"/>
                </a:ext>
              </a:extLst>
            </p:cNvPr>
            <p:cNvSpPr txBox="1"/>
            <p:nvPr/>
          </p:nvSpPr>
          <p:spPr>
            <a:xfrm>
              <a:off x="5551831" y="3907067"/>
              <a:ext cx="2981694" cy="2847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8" b="0" i="0" u="none" strike="noStrike" kern="0" cap="none" spc="0" normalizeH="0" baseline="0" noProof="0">
                  <a:ln>
                    <a:noFill/>
                  </a:ln>
                  <a:solidFill>
                    <a:srgbClr val="C0504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rPr>
                <a:t>DK               Sweden         Estonia           Czech</a:t>
              </a:r>
            </a:p>
          </p:txBody>
        </p:sp>
        <p:pic>
          <p:nvPicPr>
            <p:cNvPr id="1560578" name="Picture 2">
              <a:extLst>
                <a:ext uri="{FF2B5EF4-FFF2-40B4-BE49-F238E27FC236}">
                  <a16:creationId xmlns:a16="http://schemas.microsoft.com/office/drawing/2014/main" id="{BF00F792-89F7-F01A-D247-355D6EE3AB1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377141" y="2624461"/>
              <a:ext cx="495300" cy="400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60579" name="Picture 3">
              <a:extLst>
                <a:ext uri="{FF2B5EF4-FFF2-40B4-BE49-F238E27FC236}">
                  <a16:creationId xmlns:a16="http://schemas.microsoft.com/office/drawing/2014/main" id="{B9BE192D-91E4-308E-9E3A-AF95A4E2A1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436533" y="3494555"/>
              <a:ext cx="495300" cy="400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60580" name="Picture 4">
              <a:extLst>
                <a:ext uri="{FF2B5EF4-FFF2-40B4-BE49-F238E27FC236}">
                  <a16:creationId xmlns:a16="http://schemas.microsoft.com/office/drawing/2014/main" id="{06BE003F-9175-19E6-E812-82E5827B1A0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837647" y="1849014"/>
              <a:ext cx="495300" cy="400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60581" name="Picture 5">
              <a:extLst>
                <a:ext uri="{FF2B5EF4-FFF2-40B4-BE49-F238E27FC236}">
                  <a16:creationId xmlns:a16="http://schemas.microsoft.com/office/drawing/2014/main" id="{7E708A55-53DA-60A1-DD9A-A5087361A1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685430" y="1849014"/>
              <a:ext cx="495300" cy="400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60582" name="Picture 6">
              <a:extLst>
                <a:ext uri="{FF2B5EF4-FFF2-40B4-BE49-F238E27FC236}">
                  <a16:creationId xmlns:a16="http://schemas.microsoft.com/office/drawing/2014/main" id="{F43EF037-382A-DD3A-9E9A-38760781FD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635709" y="1837549"/>
              <a:ext cx="495300" cy="400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60583" name="Picture 7">
              <a:extLst>
                <a:ext uri="{FF2B5EF4-FFF2-40B4-BE49-F238E27FC236}">
                  <a16:creationId xmlns:a16="http://schemas.microsoft.com/office/drawing/2014/main" id="{410CB4C0-08A9-75BC-445B-9F525F728D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146985" y="2624461"/>
              <a:ext cx="495300" cy="400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60584" name="Picture 8">
              <a:extLst>
                <a:ext uri="{FF2B5EF4-FFF2-40B4-BE49-F238E27FC236}">
                  <a16:creationId xmlns:a16="http://schemas.microsoft.com/office/drawing/2014/main" id="{B1EE63F3-B527-B294-858B-DFB9890160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035052" y="2624461"/>
              <a:ext cx="495300" cy="400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60585" name="Picture 9">
              <a:extLst>
                <a:ext uri="{FF2B5EF4-FFF2-40B4-BE49-F238E27FC236}">
                  <a16:creationId xmlns:a16="http://schemas.microsoft.com/office/drawing/2014/main" id="{6461EDFD-575D-1060-564B-1A93CC473F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857931" y="2624461"/>
              <a:ext cx="495300" cy="400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60586" name="Picture 10">
              <a:extLst>
                <a:ext uri="{FF2B5EF4-FFF2-40B4-BE49-F238E27FC236}">
                  <a16:creationId xmlns:a16="http://schemas.microsoft.com/office/drawing/2014/main" id="{4B5E1043-88EC-6318-D6A3-2A8D1D379F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297706" y="3494555"/>
              <a:ext cx="495300" cy="400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60588" name="Picture 12">
              <a:extLst>
                <a:ext uri="{FF2B5EF4-FFF2-40B4-BE49-F238E27FC236}">
                  <a16:creationId xmlns:a16="http://schemas.microsoft.com/office/drawing/2014/main" id="{FECFEA3E-6EA2-8429-4AA7-2EA0F6365B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094444" y="3494555"/>
              <a:ext cx="495300" cy="400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60589" name="Picture 13">
              <a:extLst>
                <a:ext uri="{FF2B5EF4-FFF2-40B4-BE49-F238E27FC236}">
                  <a16:creationId xmlns:a16="http://schemas.microsoft.com/office/drawing/2014/main" id="{0648E422-DA77-7376-C60F-7049001996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863535" y="3494555"/>
              <a:ext cx="495300" cy="400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1" name="Line Callout 1 20">
            <a:extLst>
              <a:ext uri="{FF2B5EF4-FFF2-40B4-BE49-F238E27FC236}">
                <a16:creationId xmlns:a16="http://schemas.microsoft.com/office/drawing/2014/main" id="{C9972ECB-DC2C-94A6-D922-A27A309D3CF5}"/>
              </a:ext>
            </a:extLst>
          </p:cNvPr>
          <p:cNvSpPr/>
          <p:nvPr/>
        </p:nvSpPr>
        <p:spPr>
          <a:xfrm>
            <a:off x="2932503" y="2157089"/>
            <a:ext cx="1032319" cy="492292"/>
          </a:xfrm>
          <a:prstGeom prst="borderCallout1">
            <a:avLst>
              <a:gd name="adj1" fmla="val 113556"/>
              <a:gd name="adj2" fmla="val 26744"/>
              <a:gd name="adj3" fmla="val 200421"/>
              <a:gd name="adj4" fmla="val 46249"/>
            </a:avLst>
          </a:prstGeom>
          <a:solidFill>
            <a:schemeClr val="bg1"/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77" b="0" i="0" u="none" strike="noStrike" kern="0" cap="none" spc="0" normalizeH="0" baseline="0" noProof="0">
                <a:ln>
                  <a:noFill/>
                </a:ln>
                <a:solidFill>
                  <a:srgbClr val="2042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Disease Epi</a:t>
            </a:r>
          </a:p>
        </p:txBody>
      </p:sp>
      <p:sp>
        <p:nvSpPr>
          <p:cNvPr id="25" name="Line Callout 1 24">
            <a:extLst>
              <a:ext uri="{FF2B5EF4-FFF2-40B4-BE49-F238E27FC236}">
                <a16:creationId xmlns:a16="http://schemas.microsoft.com/office/drawing/2014/main" id="{5526CD21-7322-4535-1581-2F65DB33E4DC}"/>
              </a:ext>
            </a:extLst>
          </p:cNvPr>
          <p:cNvSpPr/>
          <p:nvPr/>
        </p:nvSpPr>
        <p:spPr>
          <a:xfrm>
            <a:off x="1372644" y="2157089"/>
            <a:ext cx="1177135" cy="529531"/>
          </a:xfrm>
          <a:prstGeom prst="borderCallout1">
            <a:avLst>
              <a:gd name="adj1" fmla="val 113556"/>
              <a:gd name="adj2" fmla="val 26744"/>
              <a:gd name="adj3" fmla="val 172831"/>
              <a:gd name="adj4" fmla="val 16128"/>
            </a:avLst>
          </a:prstGeom>
          <a:solidFill>
            <a:schemeClr val="bg1"/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77" b="0" i="0" u="none" strike="noStrike" kern="0" cap="none" spc="0" normalizeH="0" baseline="0" noProof="0">
                <a:ln>
                  <a:noFill/>
                </a:ln>
                <a:solidFill>
                  <a:srgbClr val="2042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Drug </a:t>
            </a:r>
            <a:r>
              <a:rPr kumimoji="0" lang="en-US" sz="1477" b="0" i="0" u="none" strike="noStrike" kern="0" cap="none" spc="0" normalizeH="0" baseline="0" noProof="0" err="1">
                <a:ln>
                  <a:noFill/>
                </a:ln>
                <a:solidFill>
                  <a:srgbClr val="2042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Utilisation</a:t>
            </a:r>
            <a:endParaRPr kumimoji="0" lang="en-US" sz="1477" b="0" i="0" u="none" strike="noStrike" kern="0" cap="none" spc="0" normalizeH="0" baseline="0" noProof="0">
              <a:ln>
                <a:noFill/>
              </a:ln>
              <a:solidFill>
                <a:srgbClr val="20425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26" name="Line Callout 1 25">
            <a:extLst>
              <a:ext uri="{FF2B5EF4-FFF2-40B4-BE49-F238E27FC236}">
                <a16:creationId xmlns:a16="http://schemas.microsoft.com/office/drawing/2014/main" id="{49AFF3EB-CCB7-DC37-4E28-36E693BC131D}"/>
              </a:ext>
            </a:extLst>
          </p:cNvPr>
          <p:cNvSpPr/>
          <p:nvPr/>
        </p:nvSpPr>
        <p:spPr>
          <a:xfrm>
            <a:off x="5303494" y="4412723"/>
            <a:ext cx="1294789" cy="699395"/>
          </a:xfrm>
          <a:prstGeom prst="borderCallout1">
            <a:avLst>
              <a:gd name="adj1" fmla="val 44657"/>
              <a:gd name="adj2" fmla="val -4252"/>
              <a:gd name="adj3" fmla="val 40687"/>
              <a:gd name="adj4" fmla="val -37762"/>
            </a:avLst>
          </a:prstGeom>
          <a:solidFill>
            <a:schemeClr val="bg1"/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77" b="0" i="0" u="none" strike="noStrike" kern="0" cap="none" spc="0" normalizeH="0" baseline="0" noProof="0">
                <a:ln>
                  <a:noFill/>
                </a:ln>
                <a:solidFill>
                  <a:srgbClr val="2042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Vaccin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77" b="0" i="0" u="none" strike="noStrike" kern="0" cap="none" spc="0" normalizeH="0" baseline="0" noProof="0">
                <a:ln>
                  <a:noFill/>
                </a:ln>
                <a:solidFill>
                  <a:srgbClr val="2042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Effectiveness</a:t>
            </a:r>
          </a:p>
        </p:txBody>
      </p:sp>
      <p:sp>
        <p:nvSpPr>
          <p:cNvPr id="27" name="Line Callout 1 26">
            <a:extLst>
              <a:ext uri="{FF2B5EF4-FFF2-40B4-BE49-F238E27FC236}">
                <a16:creationId xmlns:a16="http://schemas.microsoft.com/office/drawing/2014/main" id="{FC6D1F43-2F0F-C8BA-0043-50B0EDA3FF68}"/>
              </a:ext>
            </a:extLst>
          </p:cNvPr>
          <p:cNvSpPr/>
          <p:nvPr/>
        </p:nvSpPr>
        <p:spPr>
          <a:xfrm>
            <a:off x="4277210" y="2318955"/>
            <a:ext cx="1886207" cy="269935"/>
          </a:xfrm>
          <a:prstGeom prst="borderCallout1">
            <a:avLst>
              <a:gd name="adj1" fmla="val 108958"/>
              <a:gd name="adj2" fmla="val 56455"/>
              <a:gd name="adj3" fmla="val 246405"/>
              <a:gd name="adj4" fmla="val 42795"/>
            </a:avLst>
          </a:prstGeom>
          <a:solidFill>
            <a:schemeClr val="bg1"/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77" b="0" i="0" u="none" strike="noStrike" kern="0" cap="none" spc="0" normalizeH="0" baseline="0" noProof="0">
                <a:ln>
                  <a:noFill/>
                </a:ln>
                <a:solidFill>
                  <a:srgbClr val="2042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Drug Safety</a:t>
            </a:r>
          </a:p>
        </p:txBody>
      </p:sp>
      <p:sp>
        <p:nvSpPr>
          <p:cNvPr id="68" name="Line Callout 1 67">
            <a:extLst>
              <a:ext uri="{FF2B5EF4-FFF2-40B4-BE49-F238E27FC236}">
                <a16:creationId xmlns:a16="http://schemas.microsoft.com/office/drawing/2014/main" id="{6A32E1CB-E7F4-0EB6-D8D7-A24D05C9878F}"/>
              </a:ext>
            </a:extLst>
          </p:cNvPr>
          <p:cNvSpPr/>
          <p:nvPr/>
        </p:nvSpPr>
        <p:spPr>
          <a:xfrm>
            <a:off x="8024327" y="5483660"/>
            <a:ext cx="1807603" cy="1066353"/>
          </a:xfrm>
          <a:prstGeom prst="borderCallout1">
            <a:avLst>
              <a:gd name="adj1" fmla="val -14051"/>
              <a:gd name="adj2" fmla="val 150981"/>
              <a:gd name="adj3" fmla="val -13215"/>
              <a:gd name="adj4" fmla="val -42372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2042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Standardized data</a:t>
            </a:r>
          </a:p>
        </p:txBody>
      </p:sp>
      <p:pic>
        <p:nvPicPr>
          <p:cNvPr id="1562626" name="Picture 2">
            <a:extLst>
              <a:ext uri="{FF2B5EF4-FFF2-40B4-BE49-F238E27FC236}">
                <a16:creationId xmlns:a16="http://schemas.microsoft.com/office/drawing/2014/main" id="{22CF1CE1-F87A-D590-AC49-E4DC8F205A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22612" y="2870783"/>
            <a:ext cx="1320347" cy="1340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D6FAF3C-5443-42FB-F8E8-210BA34C66E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5411" y="4245186"/>
            <a:ext cx="1381072" cy="1034471"/>
          </a:xfrm>
          <a:prstGeom prst="rect">
            <a:avLst/>
          </a:prstGeom>
        </p:spPr>
      </p:pic>
      <p:sp>
        <p:nvSpPr>
          <p:cNvPr id="5" name="Line Callout 1 67">
            <a:extLst>
              <a:ext uri="{FF2B5EF4-FFF2-40B4-BE49-F238E27FC236}">
                <a16:creationId xmlns:a16="http://schemas.microsoft.com/office/drawing/2014/main" id="{F3094110-85CD-2CFF-D59B-477D87133A33}"/>
              </a:ext>
            </a:extLst>
          </p:cNvPr>
          <p:cNvSpPr/>
          <p:nvPr/>
        </p:nvSpPr>
        <p:spPr>
          <a:xfrm>
            <a:off x="2492206" y="5483659"/>
            <a:ext cx="1807603" cy="1066353"/>
          </a:xfrm>
          <a:prstGeom prst="borderCallout1">
            <a:avLst>
              <a:gd name="adj1" fmla="val -11255"/>
              <a:gd name="adj2" fmla="val -98102"/>
              <a:gd name="adj3" fmla="val -10419"/>
              <a:gd name="adj4" fmla="val 172070"/>
            </a:avLst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Standardized analytics</a:t>
            </a: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95E4D6CD-7075-6016-8A0E-6644CEF30B8D}"/>
              </a:ext>
            </a:extLst>
          </p:cNvPr>
          <p:cNvSpPr/>
          <p:nvPr/>
        </p:nvSpPr>
        <p:spPr bwMode="auto">
          <a:xfrm>
            <a:off x="4482548" y="5784574"/>
            <a:ext cx="3409645" cy="506562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B414A087-DE67-F50C-7815-C66184AB55E4}"/>
              </a:ext>
            </a:extLst>
          </p:cNvPr>
          <p:cNvSpPr txBox="1">
            <a:spLocks/>
          </p:cNvSpPr>
          <p:nvPr/>
        </p:nvSpPr>
        <p:spPr bwMode="auto">
          <a:xfrm>
            <a:off x="480486" y="6405563"/>
            <a:ext cx="410633" cy="239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nl-BE"/>
            </a:defPPr>
            <a:lvl1pPr marL="0" algn="r" defTabSz="914400" rtl="0" eaLnBrk="1" latinLnBrk="0" hangingPunct="1">
              <a:lnSpc>
                <a:spcPts val="1600"/>
              </a:lnSpc>
              <a:defRPr sz="110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468437-DC6C-443C-8387-7F3DABA73C17}" type="slidenum">
              <a:rPr kumimoji="0" lang="en-GB" altLang="en-US" sz="1107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altLang="en-US" sz="110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63781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AEE182-E29D-2C6C-CA7A-9735F0FA7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10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Develop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2D3A4A-6B26-BA8C-DC1E-FEE8BA976D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468437-DC6C-443C-8387-7F3DABA73C17}" type="slidenum">
              <a:rPr kumimoji="0" lang="en-GB" altLang="en-US" sz="1107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pPr marL="0" marR="0" lvl="0" indent="0" algn="l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altLang="en-US" sz="110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9DA3E6E-61F2-CD62-7C3B-A74F362EF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068" y="941916"/>
            <a:ext cx="10515600" cy="1325563"/>
          </a:xfrm>
        </p:spPr>
        <p:txBody>
          <a:bodyPr/>
          <a:lstStyle/>
          <a:p>
            <a:r>
              <a:rPr lang="en-GB"/>
              <a:t>Building tools</a:t>
            </a:r>
          </a:p>
        </p:txBody>
      </p:sp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3AE3D509-9C13-E751-91EB-E4B73B1C783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7302" y="2935452"/>
            <a:ext cx="6707073" cy="293845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2D9723F-F45A-3E5C-5AAB-6DAC62E37E6E}"/>
              </a:ext>
            </a:extLst>
          </p:cNvPr>
          <p:cNvSpPr txBox="1"/>
          <p:nvPr/>
        </p:nvSpPr>
        <p:spPr>
          <a:xfrm>
            <a:off x="722067" y="1604697"/>
            <a:ext cx="1043801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Primary focus of the development pillar is providing tools (mostly R packages) to help users to perform standard data analyses, and training to facilitate the use of the resulting tools</a:t>
            </a:r>
          </a:p>
        </p:txBody>
      </p:sp>
    </p:spTree>
    <p:extLst>
      <p:ext uri="{BB962C8B-B14F-4D97-AF65-F5344CB8AC3E}">
        <p14:creationId xmlns:p14="http://schemas.microsoft.com/office/powerpoint/2010/main" val="20324412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28B845-E15D-94A2-DCE5-762834FC2D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 descr="Diagram&#10;&#10;Description automatically generated">
            <a:extLst>
              <a:ext uri="{FF2B5EF4-FFF2-40B4-BE49-F238E27FC236}">
                <a16:creationId xmlns:a16="http://schemas.microsoft.com/office/drawing/2014/main" id="{B9DA6A3A-833C-A7BC-3E87-3DEB709B110D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65"/>
          <a:stretch/>
        </p:blipFill>
        <p:spPr>
          <a:xfrm>
            <a:off x="800099" y="2529841"/>
            <a:ext cx="3025893" cy="3473886"/>
          </a:xfr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5C8BF30-C850-914A-7325-BE07A50645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1708" y="2384271"/>
            <a:ext cx="3760425" cy="3760425"/>
          </a:xfrm>
          <a:prstGeom prst="rect">
            <a:avLst/>
          </a:prstGeom>
        </p:spPr>
      </p:pic>
      <p:pic>
        <p:nvPicPr>
          <p:cNvPr id="12" name="Picture 11" descr="Diagram, engineering drawing&#10;&#10;Description automatically generated">
            <a:extLst>
              <a:ext uri="{FF2B5EF4-FFF2-40B4-BE49-F238E27FC236}">
                <a16:creationId xmlns:a16="http://schemas.microsoft.com/office/drawing/2014/main" id="{2DB425A3-C029-23A1-B51C-8AAE6EEB0E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3809" y="2796541"/>
            <a:ext cx="3747638" cy="261916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63E1BDB-74A1-99DC-4200-931B51EC9858}"/>
              </a:ext>
            </a:extLst>
          </p:cNvPr>
          <p:cNvSpPr txBox="1"/>
          <p:nvPr/>
        </p:nvSpPr>
        <p:spPr>
          <a:xfrm>
            <a:off x="904875" y="1442294"/>
            <a:ext cx="30258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/>
              <a:t>Off the shelf</a:t>
            </a:r>
          </a:p>
          <a:p>
            <a:r>
              <a:rPr lang="en-GB" sz="2400">
                <a:solidFill>
                  <a:srgbClr val="FF0000"/>
                </a:solidFill>
              </a:rPr>
              <a:t>Fully STD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DF4544-BB88-2BDD-3C39-6A5681DFA466}"/>
              </a:ext>
            </a:extLst>
          </p:cNvPr>
          <p:cNvSpPr txBox="1"/>
          <p:nvPr/>
        </p:nvSpPr>
        <p:spPr>
          <a:xfrm>
            <a:off x="4425398" y="1442292"/>
            <a:ext cx="30258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/>
              <a:t>Complex</a:t>
            </a:r>
          </a:p>
          <a:p>
            <a:r>
              <a:rPr lang="en-GB" sz="2400">
                <a:solidFill>
                  <a:srgbClr val="FF0000"/>
                </a:solidFill>
              </a:rPr>
              <a:t>Pre-specified</a:t>
            </a:r>
          </a:p>
          <a:p>
            <a:r>
              <a:rPr lang="en-GB" sz="2400">
                <a:solidFill>
                  <a:srgbClr val="FF0000"/>
                </a:solidFill>
              </a:rPr>
              <a:t>(some bespoke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4949B9E-E29C-DDAB-93C1-F8D5F3BFA955}"/>
              </a:ext>
            </a:extLst>
          </p:cNvPr>
          <p:cNvSpPr txBox="1"/>
          <p:nvPr/>
        </p:nvSpPr>
        <p:spPr>
          <a:xfrm>
            <a:off x="8619296" y="1442292"/>
            <a:ext cx="30258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/>
              <a:t>Very complex</a:t>
            </a:r>
            <a:endParaRPr lang="en-GB" sz="2400">
              <a:solidFill>
                <a:srgbClr val="FF0000"/>
              </a:solidFill>
            </a:endParaRPr>
          </a:p>
          <a:p>
            <a:r>
              <a:rPr lang="en-GB" sz="2400">
                <a:solidFill>
                  <a:srgbClr val="FF0000"/>
                </a:solidFill>
              </a:rPr>
              <a:t>Bespoke co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0399D8F-31C5-31AC-2001-BFE4F1B0660E}"/>
              </a:ext>
            </a:extLst>
          </p:cNvPr>
          <p:cNvSpPr txBox="1"/>
          <p:nvPr/>
        </p:nvSpPr>
        <p:spPr>
          <a:xfrm>
            <a:off x="904875" y="2529841"/>
            <a:ext cx="542925" cy="700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2AD1A83-BD9F-AC53-34F8-75C108EE7BAD}"/>
              </a:ext>
            </a:extLst>
          </p:cNvPr>
          <p:cNvSpPr txBox="1"/>
          <p:nvPr/>
        </p:nvSpPr>
        <p:spPr>
          <a:xfrm>
            <a:off x="809795" y="2773681"/>
            <a:ext cx="542925" cy="700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D059B7-5116-DC5B-F4ED-F8CB64AE2406}"/>
              </a:ext>
            </a:extLst>
          </p:cNvPr>
          <p:cNvSpPr txBox="1"/>
          <p:nvPr/>
        </p:nvSpPr>
        <p:spPr>
          <a:xfrm>
            <a:off x="1042035" y="2640330"/>
            <a:ext cx="542925" cy="46481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CF6990F-C020-7959-B2BE-5C3BECFAF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713303"/>
            <a:ext cx="11232000" cy="950913"/>
          </a:xfrm>
        </p:spPr>
        <p:txBody>
          <a:bodyPr/>
          <a:lstStyle/>
          <a:p>
            <a:r>
              <a:rPr lang="en-GB"/>
              <a:t>Hacking a hard problem: Scaling up</a:t>
            </a:r>
          </a:p>
        </p:txBody>
      </p:sp>
    </p:spTree>
    <p:extLst>
      <p:ext uri="{BB962C8B-B14F-4D97-AF65-F5344CB8AC3E}">
        <p14:creationId xmlns:p14="http://schemas.microsoft.com/office/powerpoint/2010/main" val="3946872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B8508E-8875-5B47-F6F6-C0112EC732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17EB11-5A90-FF3E-7825-12841BEA9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Draft Catalogue of Standard Analyses:</a:t>
            </a:r>
            <a:br>
              <a:rPr lang="en-GB"/>
            </a:br>
            <a:r>
              <a:rPr lang="en-GB"/>
              <a:t>Off-the-shelf studies and examples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7867A716-AEE6-F3DC-A9FC-C1EA91F4BD89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477837" y="2159000"/>
          <a:ext cx="10981980" cy="367347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794779">
                  <a:extLst>
                    <a:ext uri="{9D8B030D-6E8A-4147-A177-3AD203B41FA5}">
                      <a16:colId xmlns:a16="http://schemas.microsoft.com/office/drawing/2014/main" val="2963546383"/>
                    </a:ext>
                  </a:extLst>
                </a:gridCol>
                <a:gridCol w="6187201">
                  <a:extLst>
                    <a:ext uri="{9D8B030D-6E8A-4147-A177-3AD203B41FA5}">
                      <a16:colId xmlns:a16="http://schemas.microsoft.com/office/drawing/2014/main" val="3995523485"/>
                    </a:ext>
                  </a:extLst>
                </a:gridCol>
              </a:tblGrid>
              <a:tr h="454811">
                <a:tc>
                  <a:txBody>
                    <a:bodyPr/>
                    <a:lstStyle/>
                    <a:p>
                      <a:r>
                        <a:rPr lang="en-GB" sz="2000"/>
                        <a:t>Standard Analy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000"/>
                        <a:t>Regulatory examp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3366486"/>
                  </a:ext>
                </a:extLst>
              </a:tr>
              <a:tr h="804666">
                <a:tc>
                  <a:txBody>
                    <a:bodyPr/>
                    <a:lstStyle/>
                    <a:p>
                      <a:r>
                        <a:rPr lang="en-GB" sz="2000"/>
                        <a:t>Population-level disease epidemiolo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GB" sz="2000"/>
                        <a:t>Prevalence of rare disease/s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GB" sz="2000"/>
                        <a:t>Background rates of AESI or DMEs</a:t>
                      </a:r>
                      <a:endParaRPr lang="en-GB" sz="2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210594"/>
                  </a:ext>
                </a:extLst>
              </a:tr>
              <a:tr h="804666">
                <a:tc>
                  <a:txBody>
                    <a:bodyPr/>
                    <a:lstStyle/>
                    <a:p>
                      <a:r>
                        <a:rPr lang="en-GB" sz="2000"/>
                        <a:t>Patient-level disease epidemiolo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GB" sz="2000"/>
                        <a:t>Natural history/prognosis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GB" sz="2000"/>
                        <a:t>Current practice/treatment patter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2978462"/>
                  </a:ext>
                </a:extLst>
              </a:tr>
              <a:tr h="804666">
                <a:tc>
                  <a:txBody>
                    <a:bodyPr/>
                    <a:lstStyle/>
                    <a:p>
                      <a:r>
                        <a:rPr lang="en-GB" sz="2000"/>
                        <a:t>Population-level D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GB" sz="2000"/>
                        <a:t>Incidence and prevalence of use of medicine/s over ti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9374737"/>
                  </a:ext>
                </a:extLst>
              </a:tr>
              <a:tr h="804666">
                <a:tc>
                  <a:txBody>
                    <a:bodyPr/>
                    <a:lstStyle/>
                    <a:p>
                      <a:r>
                        <a:rPr lang="en-GB" sz="2000"/>
                        <a:t>Patient-level D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GB" sz="2000"/>
                        <a:t>Describing indication/s for drug/s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GB" sz="2000"/>
                        <a:t>Treatment duration, cumulative u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0505793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760476-C167-460E-C2A5-740FFDE959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1512B7-A4D3-45D6-AC99-9D6C4D21B5B0}" type="slidenum">
              <a:rPr kumimoji="0" lang="en-GB" altLang="en-US" sz="1107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pPr marL="0" marR="0" lvl="0" indent="0" algn="l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altLang="en-US" sz="110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906860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wide screen (Agency)">
  <a:themeElements>
    <a:clrScheme name="Neutral (Agency) (26 April 2011) 2">
      <a:dk1>
        <a:srgbClr val="000000"/>
      </a:dk1>
      <a:lt1>
        <a:srgbClr val="FFFFFF"/>
      </a:lt1>
      <a:dk2>
        <a:srgbClr val="003399"/>
      </a:dk2>
      <a:lt2>
        <a:srgbClr val="6D6F71"/>
      </a:lt2>
      <a:accent1>
        <a:srgbClr val="E1E3F2"/>
      </a:accent1>
      <a:accent2>
        <a:srgbClr val="E98300"/>
      </a:accent2>
      <a:accent3>
        <a:srgbClr val="FFFFFF"/>
      </a:accent3>
      <a:accent4>
        <a:srgbClr val="000000"/>
      </a:accent4>
      <a:accent5>
        <a:srgbClr val="EEEFF7"/>
      </a:accent5>
      <a:accent6>
        <a:srgbClr val="D37600"/>
      </a:accent6>
      <a:hlink>
        <a:srgbClr val="0098DB"/>
      </a:hlink>
      <a:folHlink>
        <a:srgbClr val="983222"/>
      </a:folHlink>
    </a:clrScheme>
    <a:fontScheme name="Neutral (Agency) (26 April 2011)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lg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2000" tIns="72000" rIns="72000" bIns="72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Verdana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lg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2000" tIns="72000" rIns="72000" bIns="72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Verdana" pitchFamily="34" charset="0"/>
            <a:cs typeface="Arial" charset="0"/>
          </a:defRPr>
        </a:defPPr>
      </a:lstStyle>
    </a:lnDef>
  </a:objectDefaults>
  <a:extraClrSchemeLst>
    <a:extraClrScheme>
      <a:clrScheme name="Neutral (Agency) (26 April 2011) 1">
        <a:dk1>
          <a:srgbClr val="404040"/>
        </a:dk1>
        <a:lt1>
          <a:srgbClr val="FFFFFF"/>
        </a:lt1>
        <a:dk2>
          <a:srgbClr val="003399"/>
        </a:dk2>
        <a:lt2>
          <a:srgbClr val="FFFFFF"/>
        </a:lt2>
        <a:accent1>
          <a:srgbClr val="E1E4F3"/>
        </a:accent1>
        <a:accent2>
          <a:srgbClr val="E98300"/>
        </a:accent2>
        <a:accent3>
          <a:srgbClr val="AAADCA"/>
        </a:accent3>
        <a:accent4>
          <a:srgbClr val="DADADA"/>
        </a:accent4>
        <a:accent5>
          <a:srgbClr val="EEEFF8"/>
        </a:accent5>
        <a:accent6>
          <a:srgbClr val="D37600"/>
        </a:accent6>
        <a:hlink>
          <a:srgbClr val="0098DB"/>
        </a:hlink>
        <a:folHlink>
          <a:srgbClr val="98322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utral (Agency) (26 April 2011) 2">
        <a:dk1>
          <a:srgbClr val="000000"/>
        </a:dk1>
        <a:lt1>
          <a:srgbClr val="FFFFFF"/>
        </a:lt1>
        <a:dk2>
          <a:srgbClr val="003399"/>
        </a:dk2>
        <a:lt2>
          <a:srgbClr val="6D6F71"/>
        </a:lt2>
        <a:accent1>
          <a:srgbClr val="E1E3F2"/>
        </a:accent1>
        <a:accent2>
          <a:srgbClr val="E98300"/>
        </a:accent2>
        <a:accent3>
          <a:srgbClr val="FFFFFF"/>
        </a:accent3>
        <a:accent4>
          <a:srgbClr val="000000"/>
        </a:accent4>
        <a:accent5>
          <a:srgbClr val="EEEFF7"/>
        </a:accent5>
        <a:accent6>
          <a:srgbClr val="D37600"/>
        </a:accent6>
        <a:hlink>
          <a:srgbClr val="0098DB"/>
        </a:hlink>
        <a:folHlink>
          <a:srgbClr val="9832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3E60FBF1-4B83-4CC4-AAA4-B62C94D43418}" vid="{344D7763-4A8B-423B-9AFE-4DEEEE0E1852}"/>
    </a:ext>
  </a:extLst>
</a:theme>
</file>

<file path=ppt/theme/theme2.xml><?xml version="1.0" encoding="utf-8"?>
<a:theme xmlns:a="http://schemas.openxmlformats.org/drawingml/2006/main" name="1_Default wide screen (Agency)">
  <a:themeElements>
    <a:clrScheme name="Neutral (Agency) (26 April 2011) 2">
      <a:dk1>
        <a:srgbClr val="000000"/>
      </a:dk1>
      <a:lt1>
        <a:srgbClr val="FFFFFF"/>
      </a:lt1>
      <a:dk2>
        <a:srgbClr val="003399"/>
      </a:dk2>
      <a:lt2>
        <a:srgbClr val="6D6F71"/>
      </a:lt2>
      <a:accent1>
        <a:srgbClr val="E1E3F2"/>
      </a:accent1>
      <a:accent2>
        <a:srgbClr val="E98300"/>
      </a:accent2>
      <a:accent3>
        <a:srgbClr val="FFFFFF"/>
      </a:accent3>
      <a:accent4>
        <a:srgbClr val="000000"/>
      </a:accent4>
      <a:accent5>
        <a:srgbClr val="EEEFF7"/>
      </a:accent5>
      <a:accent6>
        <a:srgbClr val="D37600"/>
      </a:accent6>
      <a:hlink>
        <a:srgbClr val="0098DB"/>
      </a:hlink>
      <a:folHlink>
        <a:srgbClr val="983222"/>
      </a:folHlink>
    </a:clrScheme>
    <a:fontScheme name="Neutral (Agency) (26 April 2011)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lg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2000" tIns="72000" rIns="72000" bIns="72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Verdana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lg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2000" tIns="72000" rIns="72000" bIns="72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Verdana" pitchFamily="34" charset="0"/>
            <a:cs typeface="Arial" charset="0"/>
          </a:defRPr>
        </a:defPPr>
      </a:lstStyle>
    </a:lnDef>
  </a:objectDefaults>
  <a:extraClrSchemeLst>
    <a:extraClrScheme>
      <a:clrScheme name="Neutral (Agency) (26 April 2011) 1">
        <a:dk1>
          <a:srgbClr val="404040"/>
        </a:dk1>
        <a:lt1>
          <a:srgbClr val="FFFFFF"/>
        </a:lt1>
        <a:dk2>
          <a:srgbClr val="003399"/>
        </a:dk2>
        <a:lt2>
          <a:srgbClr val="FFFFFF"/>
        </a:lt2>
        <a:accent1>
          <a:srgbClr val="E1E4F3"/>
        </a:accent1>
        <a:accent2>
          <a:srgbClr val="E98300"/>
        </a:accent2>
        <a:accent3>
          <a:srgbClr val="AAADCA"/>
        </a:accent3>
        <a:accent4>
          <a:srgbClr val="DADADA"/>
        </a:accent4>
        <a:accent5>
          <a:srgbClr val="EEEFF8"/>
        </a:accent5>
        <a:accent6>
          <a:srgbClr val="D37600"/>
        </a:accent6>
        <a:hlink>
          <a:srgbClr val="0098DB"/>
        </a:hlink>
        <a:folHlink>
          <a:srgbClr val="98322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utral (Agency) (26 April 2011) 2">
        <a:dk1>
          <a:srgbClr val="000000"/>
        </a:dk1>
        <a:lt1>
          <a:srgbClr val="FFFFFF"/>
        </a:lt1>
        <a:dk2>
          <a:srgbClr val="003399"/>
        </a:dk2>
        <a:lt2>
          <a:srgbClr val="6D6F71"/>
        </a:lt2>
        <a:accent1>
          <a:srgbClr val="E1E3F2"/>
        </a:accent1>
        <a:accent2>
          <a:srgbClr val="E98300"/>
        </a:accent2>
        <a:accent3>
          <a:srgbClr val="FFFFFF"/>
        </a:accent3>
        <a:accent4>
          <a:srgbClr val="000000"/>
        </a:accent4>
        <a:accent5>
          <a:srgbClr val="EEEFF7"/>
        </a:accent5>
        <a:accent6>
          <a:srgbClr val="D37600"/>
        </a:accent6>
        <a:hlink>
          <a:srgbClr val="0098DB"/>
        </a:hlink>
        <a:folHlink>
          <a:srgbClr val="9832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5" id="{C4EBF457-6495-7047-AFAE-9B26360716F3}" vid="{D6BD667D-CB18-604E-81E2-9DF2E2405BC5}"/>
    </a:ext>
  </a:extLst>
</a:theme>
</file>

<file path=ppt/theme/theme3.xml><?xml version="1.0" encoding="utf-8"?>
<a:theme xmlns:a="http://schemas.openxmlformats.org/drawingml/2006/main" name="2_Default wide screen (Agency)">
  <a:themeElements>
    <a:clrScheme name="Neutral (Agency) (26 April 2011) 2">
      <a:dk1>
        <a:srgbClr val="000000"/>
      </a:dk1>
      <a:lt1>
        <a:srgbClr val="FFFFFF"/>
      </a:lt1>
      <a:dk2>
        <a:srgbClr val="003399"/>
      </a:dk2>
      <a:lt2>
        <a:srgbClr val="6D6F71"/>
      </a:lt2>
      <a:accent1>
        <a:srgbClr val="E1E3F2"/>
      </a:accent1>
      <a:accent2>
        <a:srgbClr val="E98300"/>
      </a:accent2>
      <a:accent3>
        <a:srgbClr val="FFFFFF"/>
      </a:accent3>
      <a:accent4>
        <a:srgbClr val="000000"/>
      </a:accent4>
      <a:accent5>
        <a:srgbClr val="EEEFF7"/>
      </a:accent5>
      <a:accent6>
        <a:srgbClr val="D37600"/>
      </a:accent6>
      <a:hlink>
        <a:srgbClr val="0098DB"/>
      </a:hlink>
      <a:folHlink>
        <a:srgbClr val="983222"/>
      </a:folHlink>
    </a:clrScheme>
    <a:fontScheme name="Neutral (Agency) (26 April 2011)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lg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2000" tIns="72000" rIns="72000" bIns="72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Verdana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lg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2000" tIns="72000" rIns="72000" bIns="72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Verdana" pitchFamily="34" charset="0"/>
            <a:cs typeface="Arial" charset="0"/>
          </a:defRPr>
        </a:defPPr>
      </a:lstStyle>
    </a:lnDef>
  </a:objectDefaults>
  <a:extraClrSchemeLst>
    <a:extraClrScheme>
      <a:clrScheme name="Neutral (Agency) (26 April 2011) 1">
        <a:dk1>
          <a:srgbClr val="404040"/>
        </a:dk1>
        <a:lt1>
          <a:srgbClr val="FFFFFF"/>
        </a:lt1>
        <a:dk2>
          <a:srgbClr val="003399"/>
        </a:dk2>
        <a:lt2>
          <a:srgbClr val="FFFFFF"/>
        </a:lt2>
        <a:accent1>
          <a:srgbClr val="E1E4F3"/>
        </a:accent1>
        <a:accent2>
          <a:srgbClr val="E98300"/>
        </a:accent2>
        <a:accent3>
          <a:srgbClr val="AAADCA"/>
        </a:accent3>
        <a:accent4>
          <a:srgbClr val="DADADA"/>
        </a:accent4>
        <a:accent5>
          <a:srgbClr val="EEEFF8"/>
        </a:accent5>
        <a:accent6>
          <a:srgbClr val="D37600"/>
        </a:accent6>
        <a:hlink>
          <a:srgbClr val="0098DB"/>
        </a:hlink>
        <a:folHlink>
          <a:srgbClr val="98322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utral (Agency) (26 April 2011) 2">
        <a:dk1>
          <a:srgbClr val="000000"/>
        </a:dk1>
        <a:lt1>
          <a:srgbClr val="FFFFFF"/>
        </a:lt1>
        <a:dk2>
          <a:srgbClr val="003399"/>
        </a:dk2>
        <a:lt2>
          <a:srgbClr val="6D6F71"/>
        </a:lt2>
        <a:accent1>
          <a:srgbClr val="E1E3F2"/>
        </a:accent1>
        <a:accent2>
          <a:srgbClr val="E98300"/>
        </a:accent2>
        <a:accent3>
          <a:srgbClr val="FFFFFF"/>
        </a:accent3>
        <a:accent4>
          <a:srgbClr val="000000"/>
        </a:accent4>
        <a:accent5>
          <a:srgbClr val="EEEFF7"/>
        </a:accent5>
        <a:accent6>
          <a:srgbClr val="D37600"/>
        </a:accent6>
        <a:hlink>
          <a:srgbClr val="0098DB"/>
        </a:hlink>
        <a:folHlink>
          <a:srgbClr val="9832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arwin Powerpoint Template (V1).potx" id="{82E0D9BF-765A-4FAA-BD45-35B443430611}" vid="{1B736914-6510-47AE-9A8E-70E8301945AB}"/>
    </a:ext>
  </a:extLst>
</a:theme>
</file>

<file path=ppt/theme/theme4.xml><?xml version="1.0" encoding="utf-8"?>
<a:theme xmlns:a="http://schemas.openxmlformats.org/drawingml/2006/main" name="CNODES 2017 template">
  <a:themeElements>
    <a:clrScheme name="Custom 2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726056"/>
      </a:accent2>
      <a:accent3>
        <a:srgbClr val="AC956E"/>
      </a:accent3>
      <a:accent4>
        <a:srgbClr val="808DA9"/>
      </a:accent4>
      <a:accent5>
        <a:srgbClr val="424E5B"/>
      </a:accent5>
      <a:accent6>
        <a:srgbClr val="730E00"/>
      </a:accent6>
      <a:hlink>
        <a:srgbClr val="CB5D5D"/>
      </a:hlink>
      <a:folHlink>
        <a:srgbClr val="810000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J&amp;J Corporate Fullscreen">
  <a:themeElements>
    <a:clrScheme name="Custom 3">
      <a:dk1>
        <a:srgbClr val="212121"/>
      </a:dk1>
      <a:lt1>
        <a:srgbClr val="FFFFFF"/>
      </a:lt1>
      <a:dk2>
        <a:srgbClr val="63666A"/>
      </a:dk2>
      <a:lt2>
        <a:srgbClr val="F4F4F4"/>
      </a:lt2>
      <a:accent1>
        <a:srgbClr val="C8102E"/>
      </a:accent1>
      <a:accent2>
        <a:srgbClr val="000099"/>
      </a:accent2>
      <a:accent3>
        <a:srgbClr val="CC0099"/>
      </a:accent3>
      <a:accent4>
        <a:srgbClr val="009999"/>
      </a:accent4>
      <a:accent5>
        <a:srgbClr val="FF6600"/>
      </a:accent5>
      <a:accent6>
        <a:srgbClr val="6633CC"/>
      </a:accent6>
      <a:hlink>
        <a:srgbClr val="000099"/>
      </a:hlink>
      <a:folHlink>
        <a:srgbClr val="888B8D"/>
      </a:folHlink>
    </a:clrScheme>
    <a:fontScheme name="Title &amp; Bullets">
      <a:majorFont>
        <a:latin typeface="Arial"/>
        <a:ea typeface="ヒラギノ角ゴ ProN W6"/>
        <a:cs typeface="ヒラギノ角ゴ ProN W6"/>
      </a:majorFont>
      <a:minorFont>
        <a:latin typeface="Arial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2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pitchFamily="-110" charset="0"/>
            <a:ea typeface="ヒラギノ角ゴ ProN W3" pitchFamily="-110" charset="-128"/>
            <a:cs typeface="ヒラギノ角ゴ ProN W3" pitchFamily="-110" charset="-128"/>
            <a:sym typeface="Arial" pitchFamily="-110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0"/>
        </a:solidFill>
        <a:ln w="12700" cap="flat" cmpd="sng" algn="ctr">
          <a:solidFill>
            <a:srgbClr val="777777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>
            <a:ln>
              <a:noFill/>
            </a:ln>
            <a:solidFill>
              <a:srgbClr val="777777"/>
            </a:solidFill>
            <a:effectLst/>
            <a:latin typeface="Arial" pitchFamily="-110" charset="0"/>
            <a:ea typeface="ヒラギノ角ゴ ProN W3" pitchFamily="-110" charset="-128"/>
            <a:cs typeface="ヒラギノ角ゴ ProN W3" pitchFamily="-110" charset="-128"/>
            <a:sym typeface="Arial" pitchFamily="-110" charset="0"/>
          </a:defRPr>
        </a:defPPr>
      </a:lstStyle>
    </a:lnDef>
  </a:objectDefaults>
  <a:extraClrSchemeLst>
    <a:extraClrScheme>
      <a:clrScheme name="Title &amp;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" id="{30DF2A73-5A31-5B45-B812-29C9C639DC3A}" vid="{09BA5CA5-A7C5-604E-82A1-9320D27E1E46}"/>
    </a:ext>
  </a:extLst>
</a:theme>
</file>

<file path=ppt/theme/theme6.xml><?xml version="1.0" encoding="utf-8"?>
<a:theme xmlns:a="http://schemas.openxmlformats.org/drawingml/2006/main" name="3_Default wide screen (Agency)">
  <a:themeElements>
    <a:clrScheme name="Neutral (Agency) (26 April 2011) 2">
      <a:dk1>
        <a:srgbClr val="000000"/>
      </a:dk1>
      <a:lt1>
        <a:srgbClr val="FFFFFF"/>
      </a:lt1>
      <a:dk2>
        <a:srgbClr val="003399"/>
      </a:dk2>
      <a:lt2>
        <a:srgbClr val="6D6F71"/>
      </a:lt2>
      <a:accent1>
        <a:srgbClr val="E1E3F2"/>
      </a:accent1>
      <a:accent2>
        <a:srgbClr val="E98300"/>
      </a:accent2>
      <a:accent3>
        <a:srgbClr val="FFFFFF"/>
      </a:accent3>
      <a:accent4>
        <a:srgbClr val="000000"/>
      </a:accent4>
      <a:accent5>
        <a:srgbClr val="EEEFF7"/>
      </a:accent5>
      <a:accent6>
        <a:srgbClr val="D37600"/>
      </a:accent6>
      <a:hlink>
        <a:srgbClr val="0098DB"/>
      </a:hlink>
      <a:folHlink>
        <a:srgbClr val="983222"/>
      </a:folHlink>
    </a:clrScheme>
    <a:fontScheme name="Neutral (Agency) (26 April 2011)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lg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2000" tIns="72000" rIns="72000" bIns="72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Verdana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lg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2000" tIns="72000" rIns="72000" bIns="72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Verdana" pitchFamily="34" charset="0"/>
            <a:cs typeface="Arial" charset="0"/>
          </a:defRPr>
        </a:defPPr>
      </a:lstStyle>
    </a:lnDef>
  </a:objectDefaults>
  <a:extraClrSchemeLst>
    <a:extraClrScheme>
      <a:clrScheme name="Neutral (Agency) (26 April 2011) 1">
        <a:dk1>
          <a:srgbClr val="404040"/>
        </a:dk1>
        <a:lt1>
          <a:srgbClr val="FFFFFF"/>
        </a:lt1>
        <a:dk2>
          <a:srgbClr val="003399"/>
        </a:dk2>
        <a:lt2>
          <a:srgbClr val="FFFFFF"/>
        </a:lt2>
        <a:accent1>
          <a:srgbClr val="E1E4F3"/>
        </a:accent1>
        <a:accent2>
          <a:srgbClr val="E98300"/>
        </a:accent2>
        <a:accent3>
          <a:srgbClr val="AAADCA"/>
        </a:accent3>
        <a:accent4>
          <a:srgbClr val="DADADA"/>
        </a:accent4>
        <a:accent5>
          <a:srgbClr val="EEEFF8"/>
        </a:accent5>
        <a:accent6>
          <a:srgbClr val="D37600"/>
        </a:accent6>
        <a:hlink>
          <a:srgbClr val="0098DB"/>
        </a:hlink>
        <a:folHlink>
          <a:srgbClr val="98322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utral (Agency) (26 April 2011) 2">
        <a:dk1>
          <a:srgbClr val="000000"/>
        </a:dk1>
        <a:lt1>
          <a:srgbClr val="FFFFFF"/>
        </a:lt1>
        <a:dk2>
          <a:srgbClr val="003399"/>
        </a:dk2>
        <a:lt2>
          <a:srgbClr val="6D6F71"/>
        </a:lt2>
        <a:accent1>
          <a:srgbClr val="E1E3F2"/>
        </a:accent1>
        <a:accent2>
          <a:srgbClr val="E98300"/>
        </a:accent2>
        <a:accent3>
          <a:srgbClr val="FFFFFF"/>
        </a:accent3>
        <a:accent4>
          <a:srgbClr val="000000"/>
        </a:accent4>
        <a:accent5>
          <a:srgbClr val="EEEFF7"/>
        </a:accent5>
        <a:accent6>
          <a:srgbClr val="D37600"/>
        </a:accent6>
        <a:hlink>
          <a:srgbClr val="0098DB"/>
        </a:hlink>
        <a:folHlink>
          <a:srgbClr val="9832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5" id="{C4EBF457-6495-7047-AFAE-9B26360716F3}" vid="{D6BD667D-CB18-604E-81E2-9DF2E2405BC5}"/>
    </a:ext>
  </a:extLst>
</a:theme>
</file>

<file path=ppt/theme/theme7.xml><?xml version="1.0" encoding="utf-8"?>
<a:theme xmlns:a="http://schemas.openxmlformats.org/drawingml/2006/main" name="1_Plai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59AC4E443FC604781AC378D5C470398" ma:contentTypeVersion="19" ma:contentTypeDescription="Create a new document." ma:contentTypeScope="" ma:versionID="82830869278f591ffbbd035c909b6f22">
  <xsd:schema xmlns:xsd="http://www.w3.org/2001/XMLSchema" xmlns:xs="http://www.w3.org/2001/XMLSchema" xmlns:p="http://schemas.microsoft.com/office/2006/metadata/properties" xmlns:ns2="f71021e8-990f-4925-b0c0-56fc0f9bf228" xmlns:ns3="95e876d0-1428-417b-8b26-3807ab3aec53" targetNamespace="http://schemas.microsoft.com/office/2006/metadata/properties" ma:root="true" ma:fieldsID="4fa0b38edc64e7008f64ab82f7de305a" ns2:_="" ns3:_="">
    <xsd:import namespace="f71021e8-990f-4925-b0c0-56fc0f9bf228"/>
    <xsd:import namespace="95e876d0-1428-417b-8b26-3807ab3aec53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MediaServiceAutoKeyPoints" minOccurs="0"/>
                <xsd:element ref="ns3:MediaServiceKeyPoints" minOccurs="0"/>
                <xsd:element ref="ns2:TaxCatchAll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lcf76f155ced4ddcb4097134ff3c332f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1021e8-990f-4925-b0c0-56fc0f9bf22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13dfc78c-b2a3-4345-ae5c-656ecab4e07e}" ma:internalName="TaxCatchAll" ma:showField="CatchAllData" ma:web="f71021e8-990f-4925-b0c0-56fc0f9bf22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e876d0-1428-417b-8b26-3807ab3aec5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63486d5f-0198-4fe6-9ac5-bd9f70c295c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71021e8-990f-4925-b0c0-56fc0f9bf228" xsi:nil="true"/>
    <lcf76f155ced4ddcb4097134ff3c332f xmlns="95e876d0-1428-417b-8b26-3807ab3aec53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D44FD97-840B-41C4-B8CB-50E669314368}">
  <ds:schemaRefs>
    <ds:schemaRef ds:uri="95e876d0-1428-417b-8b26-3807ab3aec53"/>
    <ds:schemaRef ds:uri="f71021e8-990f-4925-b0c0-56fc0f9bf22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BED0891-ECE8-4BE8-B553-DB0A326263A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877E65B-B971-43D9-A6EA-D698BE88EAD9}">
  <ds:schemaRefs>
    <ds:schemaRef ds:uri="http://www.w3.org/XML/1998/namespace"/>
    <ds:schemaRef ds:uri="http://purl.org/dc/terms/"/>
    <ds:schemaRef ds:uri="http://schemas.microsoft.com/office/2006/documentManagement/types"/>
    <ds:schemaRef ds:uri="http://purl.org/dc/elements/1.1/"/>
    <ds:schemaRef ds:uri="f71021e8-990f-4925-b0c0-56fc0f9bf228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95e876d0-1428-417b-8b26-3807ab3aec53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8</TotalTime>
  <Words>723</Words>
  <Application>Microsoft Macintosh PowerPoint</Application>
  <PresentationFormat>Widescreen</PresentationFormat>
  <Paragraphs>143</Paragraphs>
  <Slides>1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4" baseType="lpstr">
      <vt:lpstr>Arial</vt:lpstr>
      <vt:lpstr>Calibri</vt:lpstr>
      <vt:lpstr>Calibri Light</vt:lpstr>
      <vt:lpstr>Century Gothic</vt:lpstr>
      <vt:lpstr>Franklin Gothic Demi</vt:lpstr>
      <vt:lpstr>Georgia</vt:lpstr>
      <vt:lpstr>LM Roman 10</vt:lpstr>
      <vt:lpstr>Tahoma</vt:lpstr>
      <vt:lpstr>Verdana</vt:lpstr>
      <vt:lpstr>Default wide screen (Agency)</vt:lpstr>
      <vt:lpstr>1_Default wide screen (Agency)</vt:lpstr>
      <vt:lpstr>2_Default wide screen (Agency)</vt:lpstr>
      <vt:lpstr>CNODES 2017 template</vt:lpstr>
      <vt:lpstr>J&amp;J Corporate Fullscreen</vt:lpstr>
      <vt:lpstr>3_Default wide screen (Agency)</vt:lpstr>
      <vt:lpstr>1_Plain</vt:lpstr>
      <vt:lpstr>2_Office Theme</vt:lpstr>
      <vt:lpstr>think-cell Slide</vt:lpstr>
      <vt:lpstr>PowerPoint Presentation</vt:lpstr>
      <vt:lpstr>Disclosure</vt:lpstr>
      <vt:lpstr>THE CHALLENGE:  Scaling up the generation of Real-World Evidence (RWE)</vt:lpstr>
      <vt:lpstr>Generating Reliable Evidence using the OMOP Common Data Model</vt:lpstr>
      <vt:lpstr>Catalogue of Standard Data Analyses</vt:lpstr>
      <vt:lpstr>From Data Standardization To Standardised Analytics</vt:lpstr>
      <vt:lpstr>Building tools</vt:lpstr>
      <vt:lpstr>Hacking a hard problem: Scaling up</vt:lpstr>
      <vt:lpstr>Draft Catalogue of Standard Analyses: Off-the-shelf studies and examples</vt:lpstr>
      <vt:lpstr>Building the tools:  Developing OMOP-Std Analytical Pipelines</vt:lpstr>
      <vt:lpstr>OtS Characterisation in DARWIN EU® </vt:lpstr>
      <vt:lpstr>OtS Characterisation in DARWIN EU® (2)</vt:lpstr>
      <vt:lpstr>OtS Characterisation in DARWIN EU® (3)</vt:lpstr>
      <vt:lpstr>OtS Characterisation in DARWIN EU® (4)</vt:lpstr>
      <vt:lpstr>LEARNING GOALS TODA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</dc:title>
  <dc:creator>Daniel Prieto Alhambra</dc:creator>
  <cp:lastModifiedBy>Daniel Prieto Alhambra (DARWIN EU® CC)</cp:lastModifiedBy>
  <cp:revision>6</cp:revision>
  <dcterms:created xsi:type="dcterms:W3CDTF">2023-08-20T16:04:32Z</dcterms:created>
  <dcterms:modified xsi:type="dcterms:W3CDTF">2025-07-06T05:21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59AC4E443FC604781AC378D5C470398</vt:lpwstr>
  </property>
  <property fmtid="{D5CDD505-2E9C-101B-9397-08002B2CF9AE}" pid="3" name="MediaServiceImageTags">
    <vt:lpwstr/>
  </property>
</Properties>
</file>